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changesInfos/changesInfo1.xml" ContentType="application/vnd.ms-powerpoint.changes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744" r:id="rId1"/>
  </p:sldMasterIdLst>
  <p:sldIdLst>
    <p:sldId id="275" r:id="rId2"/>
    <p:sldId id="276" r:id="rId3"/>
    <p:sldId id="277" r:id="rId4"/>
    <p:sldId id="278" r:id="rId5"/>
    <p:sldId id="279" r:id="rId6"/>
    <p:sldId id="280" r:id="rId7"/>
    <p:sldId id="274" r:id="rId8"/>
    <p:sldId id="281" r:id="rId9"/>
    <p:sldId id="283" r:id="rId10"/>
    <p:sldId id="2147471066" r:id="rId11"/>
    <p:sldId id="2147471067" r:id="rId12"/>
  </p:sldIdLst>
  <p:sldSz cx="12192000" cy="6858000"/>
  <p:notesSz cx="6858000" cy="9144000"/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7025" autoAdjust="0"/>
    <p:restoredTop sz="94660"/>
  </p:normalViewPr>
  <p:slideViewPr>
    <p:cSldViewPr snapToGrid="0">
      <p:cViewPr varScale="1">
        <p:scale>
          <a:sx n="79" d="100"/>
          <a:sy n="79" d="100"/>
        </p:scale>
        <p:origin x="202" y="72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presProps" Target="presProps.xml"/><Relationship Id="rId3" Type="http://schemas.openxmlformats.org/officeDocument/2006/relationships/slide" Target="slides/slide2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microsoft.com/office/2016/11/relationships/changesInfo" Target="changesInfos/changesInfo1.xml"/><Relationship Id="rId2" Type="http://schemas.openxmlformats.org/officeDocument/2006/relationships/slide" Target="slides/slide1.xml"/><Relationship Id="rId16" Type="http://schemas.openxmlformats.org/officeDocument/2006/relationships/tableStyles" Target="tableStyles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5" Type="http://schemas.openxmlformats.org/officeDocument/2006/relationships/slide" Target="slides/slide4.xml"/><Relationship Id="rId15" Type="http://schemas.openxmlformats.org/officeDocument/2006/relationships/theme" Target="theme/theme1.xml"/><Relationship Id="rId10" Type="http://schemas.openxmlformats.org/officeDocument/2006/relationships/slide" Target="slides/slide9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viewProps" Target="viewProps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Maldonado, Mitzli" userId="7605d4ee-eee3-4411-b1d3-c24308e586ba" providerId="ADAL" clId="{1ABC34DB-79E0-4BDF-A429-B021BF591D7C}"/>
    <pc:docChg chg="undo custSel delSld modSld">
      <pc:chgData name="Maldonado, Mitzli" userId="7605d4ee-eee3-4411-b1d3-c24308e586ba" providerId="ADAL" clId="{1ABC34DB-79E0-4BDF-A429-B021BF591D7C}" dt="2023-09-26T01:08:27.669" v="57" actId="47"/>
      <pc:docMkLst>
        <pc:docMk/>
      </pc:docMkLst>
      <pc:sldChg chg="del">
        <pc:chgData name="Maldonado, Mitzli" userId="7605d4ee-eee3-4411-b1d3-c24308e586ba" providerId="ADAL" clId="{1ABC34DB-79E0-4BDF-A429-B021BF591D7C}" dt="2023-09-26T01:04:05.401" v="0" actId="47"/>
        <pc:sldMkLst>
          <pc:docMk/>
          <pc:sldMk cId="2863121570" sldId="256"/>
        </pc:sldMkLst>
      </pc:sldChg>
      <pc:sldChg chg="delSp modSp del mod">
        <pc:chgData name="Maldonado, Mitzli" userId="7605d4ee-eee3-4411-b1d3-c24308e586ba" providerId="ADAL" clId="{1ABC34DB-79E0-4BDF-A429-B021BF591D7C}" dt="2023-09-26T01:08:27.669" v="57" actId="47"/>
        <pc:sldMkLst>
          <pc:docMk/>
          <pc:sldMk cId="2318887464" sldId="268"/>
        </pc:sldMkLst>
        <pc:spChg chg="del">
          <ac:chgData name="Maldonado, Mitzli" userId="7605d4ee-eee3-4411-b1d3-c24308e586ba" providerId="ADAL" clId="{1ABC34DB-79E0-4BDF-A429-B021BF591D7C}" dt="2023-09-26T01:04:34.796" v="22" actId="478"/>
          <ac:spMkLst>
            <pc:docMk/>
            <pc:sldMk cId="2318887464" sldId="268"/>
            <ac:spMk id="2" creationId="{2324456D-52E3-1A48-BAA1-FE2CBBEB0C2D}"/>
          </ac:spMkLst>
        </pc:spChg>
        <pc:spChg chg="mod">
          <ac:chgData name="Maldonado, Mitzli" userId="7605d4ee-eee3-4411-b1d3-c24308e586ba" providerId="ADAL" clId="{1ABC34DB-79E0-4BDF-A429-B021BF591D7C}" dt="2023-09-26T01:04:33.523" v="21" actId="1076"/>
          <ac:spMkLst>
            <pc:docMk/>
            <pc:sldMk cId="2318887464" sldId="268"/>
            <ac:spMk id="13" creationId="{5EF34213-34BB-E848-92F5-6B52D23C4B44}"/>
          </ac:spMkLst>
        </pc:spChg>
        <pc:spChg chg="mod">
          <ac:chgData name="Maldonado, Mitzli" userId="7605d4ee-eee3-4411-b1d3-c24308e586ba" providerId="ADAL" clId="{1ABC34DB-79E0-4BDF-A429-B021BF591D7C}" dt="2023-09-26T01:04:26.490" v="19" actId="120"/>
          <ac:spMkLst>
            <pc:docMk/>
            <pc:sldMk cId="2318887464" sldId="268"/>
            <ac:spMk id="18" creationId="{863F253A-0858-444F-8420-43EBEC0722B7}"/>
          </ac:spMkLst>
        </pc:spChg>
        <pc:picChg chg="del mod">
          <ac:chgData name="Maldonado, Mitzli" userId="7605d4ee-eee3-4411-b1d3-c24308e586ba" providerId="ADAL" clId="{1ABC34DB-79E0-4BDF-A429-B021BF591D7C}" dt="2023-09-26T01:04:20.597" v="17" actId="478"/>
          <ac:picMkLst>
            <pc:docMk/>
            <pc:sldMk cId="2318887464" sldId="268"/>
            <ac:picMk id="10" creationId="{EB8123C2-A100-1249-BE6C-A95B68DB6DEB}"/>
          </ac:picMkLst>
        </pc:picChg>
      </pc:sldChg>
      <pc:sldChg chg="delSp modSp mod modAnim">
        <pc:chgData name="Maldonado, Mitzli" userId="7605d4ee-eee3-4411-b1d3-c24308e586ba" providerId="ADAL" clId="{1ABC34DB-79E0-4BDF-A429-B021BF591D7C}" dt="2023-09-26T01:07:31.577" v="43" actId="1076"/>
        <pc:sldMkLst>
          <pc:docMk/>
          <pc:sldMk cId="3166159621" sldId="274"/>
        </pc:sldMkLst>
        <pc:spChg chg="mod">
          <ac:chgData name="Maldonado, Mitzli" userId="7605d4ee-eee3-4411-b1d3-c24308e586ba" providerId="ADAL" clId="{1ABC34DB-79E0-4BDF-A429-B021BF591D7C}" dt="2023-09-26T01:07:31.577" v="43" actId="1076"/>
          <ac:spMkLst>
            <pc:docMk/>
            <pc:sldMk cId="3166159621" sldId="274"/>
            <ac:spMk id="18" creationId="{863F253A-0858-444F-8420-43EBEC0722B7}"/>
          </ac:spMkLst>
        </pc:spChg>
        <pc:picChg chg="del">
          <ac:chgData name="Maldonado, Mitzli" userId="7605d4ee-eee3-4411-b1d3-c24308e586ba" providerId="ADAL" clId="{1ABC34DB-79E0-4BDF-A429-B021BF591D7C}" dt="2023-09-26T01:07:25.814" v="39" actId="478"/>
          <ac:picMkLst>
            <pc:docMk/>
            <pc:sldMk cId="3166159621" sldId="274"/>
            <ac:picMk id="10" creationId="{EB8123C2-A100-1249-BE6C-A95B68DB6DEB}"/>
          </ac:picMkLst>
        </pc:picChg>
      </pc:sldChg>
      <pc:sldChg chg="modSp mod">
        <pc:chgData name="Maldonado, Mitzli" userId="7605d4ee-eee3-4411-b1d3-c24308e586ba" providerId="ADAL" clId="{1ABC34DB-79E0-4BDF-A429-B021BF591D7C}" dt="2023-09-26T01:04:09.695" v="15" actId="20577"/>
        <pc:sldMkLst>
          <pc:docMk/>
          <pc:sldMk cId="500017064" sldId="275"/>
        </pc:sldMkLst>
        <pc:spChg chg="mod">
          <ac:chgData name="Maldonado, Mitzli" userId="7605d4ee-eee3-4411-b1d3-c24308e586ba" providerId="ADAL" clId="{1ABC34DB-79E0-4BDF-A429-B021BF591D7C}" dt="2023-09-26T01:04:09.695" v="15" actId="20577"/>
          <ac:spMkLst>
            <pc:docMk/>
            <pc:sldMk cId="500017064" sldId="275"/>
            <ac:spMk id="4" creationId="{A77C37F8-9E86-8963-3C30-4B1432C9824F}"/>
          </ac:spMkLst>
        </pc:spChg>
      </pc:sldChg>
      <pc:sldChg chg="modSp mod">
        <pc:chgData name="Maldonado, Mitzli" userId="7605d4ee-eee3-4411-b1d3-c24308e586ba" providerId="ADAL" clId="{1ABC34DB-79E0-4BDF-A429-B021BF591D7C}" dt="2023-09-26T01:04:43.454" v="24" actId="27636"/>
        <pc:sldMkLst>
          <pc:docMk/>
          <pc:sldMk cId="1241760353" sldId="277"/>
        </pc:sldMkLst>
        <pc:spChg chg="mod">
          <ac:chgData name="Maldonado, Mitzli" userId="7605d4ee-eee3-4411-b1d3-c24308e586ba" providerId="ADAL" clId="{1ABC34DB-79E0-4BDF-A429-B021BF591D7C}" dt="2023-09-26T01:04:43.454" v="24" actId="27636"/>
          <ac:spMkLst>
            <pc:docMk/>
            <pc:sldMk cId="1241760353" sldId="277"/>
            <ac:spMk id="3" creationId="{1C3EE9A4-6CC2-9490-1952-D43017E6E148}"/>
          </ac:spMkLst>
        </pc:spChg>
      </pc:sldChg>
      <pc:sldChg chg="modSp mod">
        <pc:chgData name="Maldonado, Mitzli" userId="7605d4ee-eee3-4411-b1d3-c24308e586ba" providerId="ADAL" clId="{1ABC34DB-79E0-4BDF-A429-B021BF591D7C}" dt="2023-09-26T01:05:20.640" v="31" actId="14100"/>
        <pc:sldMkLst>
          <pc:docMk/>
          <pc:sldMk cId="3823225339" sldId="278"/>
        </pc:sldMkLst>
        <pc:spChg chg="mod">
          <ac:chgData name="Maldonado, Mitzli" userId="7605d4ee-eee3-4411-b1d3-c24308e586ba" providerId="ADAL" clId="{1ABC34DB-79E0-4BDF-A429-B021BF591D7C}" dt="2023-09-26T01:05:20.640" v="31" actId="14100"/>
          <ac:spMkLst>
            <pc:docMk/>
            <pc:sldMk cId="3823225339" sldId="278"/>
            <ac:spMk id="3" creationId="{3D296B44-B12C-530C-88B8-2C046DA81D14}"/>
          </ac:spMkLst>
        </pc:spChg>
        <pc:picChg chg="mod">
          <ac:chgData name="Maldonado, Mitzli" userId="7605d4ee-eee3-4411-b1d3-c24308e586ba" providerId="ADAL" clId="{1ABC34DB-79E0-4BDF-A429-B021BF591D7C}" dt="2023-09-26T01:04:55.965" v="28" actId="1076"/>
          <ac:picMkLst>
            <pc:docMk/>
            <pc:sldMk cId="3823225339" sldId="278"/>
            <ac:picMk id="4" creationId="{300632C8-AABF-752B-803B-E02447A10DB8}"/>
          </ac:picMkLst>
        </pc:picChg>
      </pc:sldChg>
      <pc:sldChg chg="modSp mod">
        <pc:chgData name="Maldonado, Mitzli" userId="7605d4ee-eee3-4411-b1d3-c24308e586ba" providerId="ADAL" clId="{1ABC34DB-79E0-4BDF-A429-B021BF591D7C}" dt="2023-09-26T01:06:04.196" v="37" actId="1076"/>
        <pc:sldMkLst>
          <pc:docMk/>
          <pc:sldMk cId="3568307222" sldId="279"/>
        </pc:sldMkLst>
        <pc:spChg chg="mod">
          <ac:chgData name="Maldonado, Mitzli" userId="7605d4ee-eee3-4411-b1d3-c24308e586ba" providerId="ADAL" clId="{1ABC34DB-79E0-4BDF-A429-B021BF591D7C}" dt="2023-09-26T01:06:04.196" v="37" actId="1076"/>
          <ac:spMkLst>
            <pc:docMk/>
            <pc:sldMk cId="3568307222" sldId="279"/>
            <ac:spMk id="3" creationId="{5AE356CC-E552-A06E-5611-932ACD59FCAE}"/>
          </ac:spMkLst>
        </pc:spChg>
        <pc:grpChg chg="mod">
          <ac:chgData name="Maldonado, Mitzli" userId="7605d4ee-eee3-4411-b1d3-c24308e586ba" providerId="ADAL" clId="{1ABC34DB-79E0-4BDF-A429-B021BF591D7C}" dt="2023-09-26T01:05:42.350" v="33" actId="14100"/>
          <ac:grpSpMkLst>
            <pc:docMk/>
            <pc:sldMk cId="3568307222" sldId="279"/>
            <ac:grpSpMk id="4" creationId="{64016970-B6FB-9667-A401-87F56FE69DCF}"/>
          </ac:grpSpMkLst>
        </pc:grpChg>
        <pc:picChg chg="mod">
          <ac:chgData name="Maldonado, Mitzli" userId="7605d4ee-eee3-4411-b1d3-c24308e586ba" providerId="ADAL" clId="{1ABC34DB-79E0-4BDF-A429-B021BF591D7C}" dt="2023-09-26T01:05:51.410" v="34" actId="14100"/>
          <ac:picMkLst>
            <pc:docMk/>
            <pc:sldMk cId="3568307222" sldId="279"/>
            <ac:picMk id="6" creationId="{2377804C-D89D-20B1-A3D2-AE6523B095D7}"/>
          </ac:picMkLst>
        </pc:picChg>
      </pc:sldChg>
      <pc:sldChg chg="modSp">
        <pc:chgData name="Maldonado, Mitzli" userId="7605d4ee-eee3-4411-b1d3-c24308e586ba" providerId="ADAL" clId="{1ABC34DB-79E0-4BDF-A429-B021BF591D7C}" dt="2023-09-26T01:06:08.895" v="38"/>
        <pc:sldMkLst>
          <pc:docMk/>
          <pc:sldMk cId="1832417271" sldId="280"/>
        </pc:sldMkLst>
        <pc:spChg chg="mod">
          <ac:chgData name="Maldonado, Mitzli" userId="7605d4ee-eee3-4411-b1d3-c24308e586ba" providerId="ADAL" clId="{1ABC34DB-79E0-4BDF-A429-B021BF591D7C}" dt="2023-09-26T01:06:08.895" v="38"/>
          <ac:spMkLst>
            <pc:docMk/>
            <pc:sldMk cId="1832417271" sldId="280"/>
            <ac:spMk id="2" creationId="{E5EB5334-E90A-763C-547B-42779E424AED}"/>
          </ac:spMkLst>
        </pc:spChg>
      </pc:sldChg>
      <pc:sldChg chg="del">
        <pc:chgData name="Maldonado, Mitzli" userId="7605d4ee-eee3-4411-b1d3-c24308e586ba" providerId="ADAL" clId="{1ABC34DB-79E0-4BDF-A429-B021BF591D7C}" dt="2023-09-26T01:08:19.704" v="56" actId="47"/>
        <pc:sldMkLst>
          <pc:docMk/>
          <pc:sldMk cId="2727133062" sldId="282"/>
        </pc:sldMkLst>
      </pc:sldChg>
      <pc:sldChg chg="modSp">
        <pc:chgData name="Maldonado, Mitzli" userId="7605d4ee-eee3-4411-b1d3-c24308e586ba" providerId="ADAL" clId="{1ABC34DB-79E0-4BDF-A429-B021BF591D7C}" dt="2023-09-26T01:07:36.453" v="44"/>
        <pc:sldMkLst>
          <pc:docMk/>
          <pc:sldMk cId="3657546094" sldId="283"/>
        </pc:sldMkLst>
        <pc:spChg chg="mod">
          <ac:chgData name="Maldonado, Mitzli" userId="7605d4ee-eee3-4411-b1d3-c24308e586ba" providerId="ADAL" clId="{1ABC34DB-79E0-4BDF-A429-B021BF591D7C}" dt="2023-09-26T01:07:36.453" v="44"/>
          <ac:spMkLst>
            <pc:docMk/>
            <pc:sldMk cId="3657546094" sldId="283"/>
            <ac:spMk id="2" creationId="{D78F1BB1-2CAF-4FEE-4AFD-FF996CD10065}"/>
          </ac:spMkLst>
        </pc:spChg>
      </pc:sldChg>
      <pc:sldChg chg="modSp mod">
        <pc:chgData name="Maldonado, Mitzli" userId="7605d4ee-eee3-4411-b1d3-c24308e586ba" providerId="ADAL" clId="{1ABC34DB-79E0-4BDF-A429-B021BF591D7C}" dt="2023-09-26T01:08:13.769" v="55" actId="1076"/>
        <pc:sldMkLst>
          <pc:docMk/>
          <pc:sldMk cId="1072906337" sldId="2147471066"/>
        </pc:sldMkLst>
        <pc:spChg chg="mod">
          <ac:chgData name="Maldonado, Mitzli" userId="7605d4ee-eee3-4411-b1d3-c24308e586ba" providerId="ADAL" clId="{1ABC34DB-79E0-4BDF-A429-B021BF591D7C}" dt="2023-09-26T01:08:13.769" v="55" actId="1076"/>
          <ac:spMkLst>
            <pc:docMk/>
            <pc:sldMk cId="1072906337" sldId="2147471066"/>
            <ac:spMk id="2" creationId="{F332B896-23B8-5048-69AA-D5D6E78D7610}"/>
          </ac:spMkLst>
        </pc:spChg>
        <pc:spChg chg="mod">
          <ac:chgData name="Maldonado, Mitzli" userId="7605d4ee-eee3-4411-b1d3-c24308e586ba" providerId="ADAL" clId="{1ABC34DB-79E0-4BDF-A429-B021BF591D7C}" dt="2023-09-26T01:07:42.978" v="45" actId="2711"/>
          <ac:spMkLst>
            <pc:docMk/>
            <pc:sldMk cId="1072906337" sldId="2147471066"/>
            <ac:spMk id="4" creationId="{5A38E810-2026-7DCD-BDB0-7CA4C1955F43}"/>
          </ac:spMkLst>
        </pc:spChg>
        <pc:graphicFrameChg chg="mod modGraphic">
          <ac:chgData name="Maldonado, Mitzli" userId="7605d4ee-eee3-4411-b1d3-c24308e586ba" providerId="ADAL" clId="{1ABC34DB-79E0-4BDF-A429-B021BF591D7C}" dt="2023-09-26T01:08:13.769" v="55" actId="1076"/>
          <ac:graphicFrameMkLst>
            <pc:docMk/>
            <pc:sldMk cId="1072906337" sldId="2147471066"/>
            <ac:graphicFrameMk id="3" creationId="{04838749-46C2-C0A9-4491-9022AA9A12BE}"/>
          </ac:graphicFrameMkLst>
        </pc:graphicFrameChg>
        <pc:picChg chg="mod">
          <ac:chgData name="Maldonado, Mitzli" userId="7605d4ee-eee3-4411-b1d3-c24308e586ba" providerId="ADAL" clId="{1ABC34DB-79E0-4BDF-A429-B021BF591D7C}" dt="2023-09-26T01:08:13.769" v="55" actId="1076"/>
          <ac:picMkLst>
            <pc:docMk/>
            <pc:sldMk cId="1072906337" sldId="2147471066"/>
            <ac:picMk id="7" creationId="{93279A49-3E6F-6AE5-3FD2-C5B8072D2688}"/>
          </ac:picMkLst>
        </pc:picChg>
      </pc:sldChg>
    </pc:docChg>
  </pc:docChgLst>
</pc:chgInfo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.xml"/><Relationship Id="rId5" Type="http://schemas.openxmlformats.org/officeDocument/2006/relationships/image" Target="../media/image4.png"/><Relationship Id="rId4" Type="http://schemas.openxmlformats.org/officeDocument/2006/relationships/image" Target="../media/image3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2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4" Type="http://schemas.openxmlformats.org/officeDocument/2006/relationships/image" Target="../media/image13.emf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4.xml"/><Relationship Id="rId4" Type="http://schemas.openxmlformats.org/officeDocument/2006/relationships/image" Target="../media/image14.emf"/></Relationships>
</file>

<file path=ppt/slideLayouts/_rels/slideLayout1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5.xml"/><Relationship Id="rId4" Type="http://schemas.openxmlformats.org/officeDocument/2006/relationships/image" Target="../media/image15.emf"/></Relationships>
</file>

<file path=ppt/slideLayouts/_rels/slideLayout1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6.xml"/><Relationship Id="rId4" Type="http://schemas.openxmlformats.org/officeDocument/2006/relationships/image" Target="../media/image16.emf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7.xml"/><Relationship Id="rId4" Type="http://schemas.openxmlformats.org/officeDocument/2006/relationships/image" Target="../media/image17.emf"/></Relationships>
</file>

<file path=ppt/slideLayouts/_rels/slideLayout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8.xml"/><Relationship Id="rId4" Type="http://schemas.openxmlformats.org/officeDocument/2006/relationships/image" Target="../media/image18.emf"/></Relationships>
</file>

<file path=ppt/slideLayouts/_rels/slideLayout1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9.xml"/><Relationship Id="rId4" Type="http://schemas.openxmlformats.org/officeDocument/2006/relationships/image" Target="../media/image19.emf"/></Relationships>
</file>

<file path=ppt/slideLayouts/_rels/slideLayout1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0.xml"/><Relationship Id="rId4" Type="http://schemas.openxmlformats.org/officeDocument/2006/relationships/image" Target="../media/image19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6.svg"/><Relationship Id="rId5" Type="http://schemas.openxmlformats.org/officeDocument/2006/relationships/image" Target="../media/image5.png"/><Relationship Id="rId4" Type="http://schemas.openxmlformats.org/officeDocument/2006/relationships/image" Target="../media/image3.emf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21.xml"/><Relationship Id="rId4" Type="http://schemas.openxmlformats.org/officeDocument/2006/relationships/image" Target="../media/image9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7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4" Type="http://schemas.openxmlformats.org/officeDocument/2006/relationships/image" Target="../media/image7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7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8.emf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9.emf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9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0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FD47B-E72F-AD4B-9CDC-33942DD7E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42241430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FD47B-E72F-AD4B-9CDC-33942DD7E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grpSp>
        <p:nvGrpSpPr>
          <p:cNvPr id="15" name="Group 14">
            <a:extLst>
              <a:ext uri="{FF2B5EF4-FFF2-40B4-BE49-F238E27FC236}">
                <a16:creationId xmlns:a16="http://schemas.microsoft.com/office/drawing/2014/main" id="{1F19F96B-9D0D-6B4F-9C44-791776F7DAA0}"/>
              </a:ext>
            </a:extLst>
          </p:cNvPr>
          <p:cNvGrpSpPr/>
          <p:nvPr/>
        </p:nvGrpSpPr>
        <p:grpSpPr>
          <a:xfrm>
            <a:off x="6773333" y="0"/>
            <a:ext cx="5423235" cy="6852676"/>
            <a:chOff x="6773333" y="0"/>
            <a:chExt cx="5423235" cy="6852676"/>
          </a:xfrm>
        </p:grpSpPr>
        <p:sp>
          <p:nvSpPr>
            <p:cNvPr id="9" name="Freeform 8">
              <a:extLst>
                <a:ext uri="{FF2B5EF4-FFF2-40B4-BE49-F238E27FC236}">
                  <a16:creationId xmlns:a16="http://schemas.microsoft.com/office/drawing/2014/main" id="{3934255D-B7F7-EA41-9778-4E9208EF1BAE}"/>
                </a:ext>
              </a:extLst>
            </p:cNvPr>
            <p:cNvSpPr/>
            <p:nvPr/>
          </p:nvSpPr>
          <p:spPr>
            <a:xfrm>
              <a:off x="6773333" y="0"/>
              <a:ext cx="5423235" cy="6852676"/>
            </a:xfrm>
            <a:custGeom>
              <a:avLst/>
              <a:gdLst>
                <a:gd name="connsiteX0" fmla="*/ 5423235 w 5423235"/>
                <a:gd name="connsiteY0" fmla="*/ 6852676 h 6852676"/>
                <a:gd name="connsiteX1" fmla="*/ 0 w 5423235"/>
                <a:gd name="connsiteY1" fmla="*/ 6846845 h 6852676"/>
                <a:gd name="connsiteX2" fmla="*/ 3625685 w 5423235"/>
                <a:gd name="connsiteY2" fmla="*/ 0 h 6852676"/>
                <a:gd name="connsiteX3" fmla="*/ 5422474 w 5423235"/>
                <a:gd name="connsiteY3" fmla="*/ 5831 h 6852676"/>
                <a:gd name="connsiteX4" fmla="*/ 5423235 w 5423235"/>
                <a:gd name="connsiteY4" fmla="*/ 6852676 h 6852676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5423235" h="6852676">
                  <a:moveTo>
                    <a:pt x="5423235" y="6852676"/>
                  </a:moveTo>
                  <a:lnTo>
                    <a:pt x="0" y="6846845"/>
                  </a:lnTo>
                  <a:lnTo>
                    <a:pt x="3625685" y="0"/>
                  </a:lnTo>
                  <a:lnTo>
                    <a:pt x="5422474" y="5831"/>
                  </a:lnTo>
                  <a:lnTo>
                    <a:pt x="5423235" y="6852676"/>
                  </a:lnTo>
                  <a:close/>
                </a:path>
              </a:pathLst>
            </a:custGeom>
            <a:solidFill>
              <a:srgbClr val="009BDA"/>
            </a:solidFill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  <p:sp>
          <p:nvSpPr>
            <p:cNvPr id="10" name="Freeform 9">
              <a:extLst>
                <a:ext uri="{FF2B5EF4-FFF2-40B4-BE49-F238E27FC236}">
                  <a16:creationId xmlns:a16="http://schemas.microsoft.com/office/drawing/2014/main" id="{26166090-9B2C-3947-B388-B293B6EFA10B}"/>
                </a:ext>
              </a:extLst>
            </p:cNvPr>
            <p:cNvSpPr/>
            <p:nvPr/>
          </p:nvSpPr>
          <p:spPr>
            <a:xfrm>
              <a:off x="8408070" y="5831"/>
              <a:ext cx="3787863" cy="6841140"/>
            </a:xfrm>
            <a:custGeom>
              <a:avLst/>
              <a:gdLst>
                <a:gd name="connsiteX0" fmla="*/ 0 w 3787863"/>
                <a:gd name="connsiteY0" fmla="*/ 6841141 h 6841140"/>
                <a:gd name="connsiteX1" fmla="*/ 801633 w 3787863"/>
                <a:gd name="connsiteY1" fmla="*/ 6841141 h 6841140"/>
                <a:gd name="connsiteX2" fmla="*/ 3787864 w 3787863"/>
                <a:gd name="connsiteY2" fmla="*/ 1201988 h 6841140"/>
                <a:gd name="connsiteX3" fmla="*/ 3787737 w 3787863"/>
                <a:gd name="connsiteY3" fmla="*/ 0 h 6841140"/>
                <a:gd name="connsiteX4" fmla="*/ 3622639 w 3787863"/>
                <a:gd name="connsiteY4" fmla="*/ 0 h 6841140"/>
                <a:gd name="connsiteX5" fmla="*/ 0 w 3787863"/>
                <a:gd name="connsiteY5" fmla="*/ 6841141 h 684114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  <a:cxn ang="0">
                  <a:pos x="connsiteX5" y="connsiteY5"/>
                </a:cxn>
              </a:cxnLst>
              <a:rect l="l" t="t" r="r" b="b"/>
              <a:pathLst>
                <a:path w="3787863" h="6841140">
                  <a:moveTo>
                    <a:pt x="0" y="6841141"/>
                  </a:moveTo>
                  <a:lnTo>
                    <a:pt x="801633" y="6841141"/>
                  </a:lnTo>
                  <a:lnTo>
                    <a:pt x="3787864" y="1201988"/>
                  </a:lnTo>
                  <a:lnTo>
                    <a:pt x="3787737" y="0"/>
                  </a:lnTo>
                  <a:lnTo>
                    <a:pt x="3622639" y="0"/>
                  </a:lnTo>
                  <a:lnTo>
                    <a:pt x="0" y="6841141"/>
                  </a:lnTo>
                  <a:close/>
                </a:path>
              </a:pathLst>
            </a:custGeom>
            <a:gradFill flip="none" rotWithShape="1">
              <a:gsLst>
                <a:gs pos="0">
                  <a:schemeClr val="bg2"/>
                </a:gs>
                <a:gs pos="51000">
                  <a:srgbClr val="00297C"/>
                </a:gs>
                <a:gs pos="100000">
                  <a:schemeClr val="tx2"/>
                </a:gs>
              </a:gsLst>
              <a:lin ang="0" scaled="1"/>
              <a:tileRect/>
            </a:gradFill>
            <a:ln w="12680" cap="flat">
              <a:noFill/>
              <a:prstDash val="solid"/>
              <a:miter/>
            </a:ln>
          </p:spPr>
          <p:txBody>
            <a:bodyPr rtlCol="0" anchor="ctr"/>
            <a:lstStyle/>
            <a:p>
              <a:pPr lvl="0"/>
              <a:endParaRPr lang="en-US"/>
            </a:p>
          </p:txBody>
        </p:sp>
        <p:sp>
          <p:nvSpPr>
            <p:cNvPr id="11" name="Freeform 10">
              <a:extLst>
                <a:ext uri="{FF2B5EF4-FFF2-40B4-BE49-F238E27FC236}">
                  <a16:creationId xmlns:a16="http://schemas.microsoft.com/office/drawing/2014/main" id="{23A86855-F61A-6148-8C5A-8F26F50FF9D8}"/>
                </a:ext>
              </a:extLst>
            </p:cNvPr>
            <p:cNvSpPr/>
            <p:nvPr/>
          </p:nvSpPr>
          <p:spPr>
            <a:xfrm>
              <a:off x="9207799" y="1204143"/>
              <a:ext cx="2988769" cy="5642828"/>
            </a:xfrm>
            <a:custGeom>
              <a:avLst/>
              <a:gdLst>
                <a:gd name="connsiteX0" fmla="*/ 2988769 w 2988769"/>
                <a:gd name="connsiteY0" fmla="*/ 5642829 h 5642828"/>
                <a:gd name="connsiteX1" fmla="*/ 2988135 w 2988769"/>
                <a:gd name="connsiteY1" fmla="*/ 0 h 5642828"/>
                <a:gd name="connsiteX2" fmla="*/ 0 w 2988769"/>
                <a:gd name="connsiteY2" fmla="*/ 5642829 h 5642828"/>
                <a:gd name="connsiteX3" fmla="*/ 2988769 w 2988769"/>
                <a:gd name="connsiteY3" fmla="*/ 5642829 h 5642828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2988769" h="5642828">
                  <a:moveTo>
                    <a:pt x="2988769" y="5642829"/>
                  </a:moveTo>
                  <a:lnTo>
                    <a:pt x="2988135" y="0"/>
                  </a:lnTo>
                  <a:lnTo>
                    <a:pt x="0" y="5642829"/>
                  </a:lnTo>
                  <a:lnTo>
                    <a:pt x="2988769" y="5642829"/>
                  </a:lnTo>
                  <a:close/>
                </a:path>
              </a:pathLst>
            </a:custGeom>
            <a:solidFill>
              <a:srgbClr val="001C71"/>
            </a:solidFill>
            <a:ln w="12670" cap="flat">
              <a:noFill/>
              <a:prstDash val="solid"/>
              <a:miter/>
            </a:ln>
          </p:spPr>
          <p:txBody>
            <a:bodyPr rtlCol="0" anchor="ctr"/>
            <a:lstStyle/>
            <a:p>
              <a:endParaRPr lang="en-US"/>
            </a:p>
          </p:txBody>
        </p:sp>
      </p:grpSp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00" y="1144588"/>
            <a:ext cx="7688263" cy="2622740"/>
          </a:xfrm>
          <a:prstGeom prst="rect">
            <a:avLst/>
          </a:prstGeom>
        </p:spPr>
        <p:txBody>
          <a:bodyPr vert="horz" rIns="0" anchor="b" anchorCtr="0">
            <a:noAutofit/>
          </a:bodyPr>
          <a:lstStyle>
            <a:lvl1pPr>
              <a:lnSpc>
                <a:spcPct val="100000"/>
              </a:lnSpc>
              <a:defRPr sz="6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0553CE8-3D59-DE47-9987-E948068F0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4014216"/>
            <a:ext cx="6400801" cy="1080124"/>
          </a:xfrm>
          <a:prstGeom prst="rect">
            <a:avLst/>
          </a:prstGeom>
        </p:spPr>
        <p:txBody>
          <a:bodyPr numCol="1">
            <a:noAutofit/>
          </a:bodyPr>
          <a:lstStyle>
            <a:lvl1pPr marL="0" indent="0">
              <a:spcBef>
                <a:spcPts val="0"/>
              </a:spcBef>
              <a:buFontTx/>
              <a:buNone/>
              <a:defRPr sz="2400" b="1" cap="none" baseline="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pic>
        <p:nvPicPr>
          <p:cNvPr id="26" name="Graphic 25">
            <a:extLst>
              <a:ext uri="{FF2B5EF4-FFF2-40B4-BE49-F238E27FC236}">
                <a16:creationId xmlns:a16="http://schemas.microsoft.com/office/drawing/2014/main" id="{40664A07-6D66-AA44-9EA8-241E5E8570D3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272080" y="6045232"/>
            <a:ext cx="1497872" cy="347189"/>
          </a:xfrm>
          <a:prstGeom prst="rect">
            <a:avLst/>
          </a:prstGeom>
        </p:spPr>
      </p:pic>
      <p:sp>
        <p:nvSpPr>
          <p:cNvPr id="14" name="Text Placeholder 5">
            <a:extLst>
              <a:ext uri="{FF2B5EF4-FFF2-40B4-BE49-F238E27FC236}">
                <a16:creationId xmlns:a16="http://schemas.microsoft.com/office/drawing/2014/main" id="{01D70D93-F45D-964B-AD22-3E764CA877E5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5754052"/>
            <a:ext cx="3543301" cy="36988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 typeface="Wingdings" pitchFamily="2" charset="2"/>
              <a:buNone/>
              <a:defRPr sz="16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09886301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chart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32C56AD6-A785-F842-AF16-A21371D70C7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788470745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32C56AD6-A785-F842-AF16-A21371D70C7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D43FA6C8-9047-904D-800F-CD112058D8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Content Placeholder 13">
            <a:extLst>
              <a:ext uri="{FF2B5EF4-FFF2-40B4-BE49-F238E27FC236}">
                <a16:creationId xmlns:a16="http://schemas.microsoft.com/office/drawing/2014/main" id="{25331957-5894-4234-B0CA-FA6B0129F238}"/>
              </a:ext>
            </a:extLst>
          </p:cNvPr>
          <p:cNvSpPr>
            <a:spLocks noGrp="1"/>
          </p:cNvSpPr>
          <p:nvPr>
            <p:ph sz="quarter" idx="15"/>
          </p:nvPr>
        </p:nvSpPr>
        <p:spPr>
          <a:xfrm>
            <a:off x="482599" y="1226666"/>
            <a:ext cx="5468939" cy="4923309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Content Placeholder 15">
            <a:extLst>
              <a:ext uri="{FF2B5EF4-FFF2-40B4-BE49-F238E27FC236}">
                <a16:creationId xmlns:a16="http://schemas.microsoft.com/office/drawing/2014/main" id="{58CB12DB-C337-48B9-A38A-293C36759604}"/>
              </a:ext>
            </a:extLst>
          </p:cNvPr>
          <p:cNvSpPr>
            <a:spLocks noGrp="1"/>
          </p:cNvSpPr>
          <p:nvPr>
            <p:ph sz="quarter" idx="16"/>
          </p:nvPr>
        </p:nvSpPr>
        <p:spPr>
          <a:xfrm>
            <a:off x="6262688" y="1226666"/>
            <a:ext cx="5357812" cy="4923309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1CEF7C0C-E3D9-46DD-B944-80DBA390446F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7B3A0199-D998-401E-A49F-DB2BED68B841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893488967"/>
      </p:ext>
    </p:extLst>
  </p:cSld>
  <p:clrMapOvr>
    <a:masterClrMapping/>
  </p:clrMapOvr>
  <p:transition/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table_ful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5191297C-47CA-8B4D-B06A-2DE4B0146D6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83562178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5191297C-47CA-8B4D-B06A-2DE4B0146D6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7D9D3DBF-117B-C040-8301-B67565E3593C}"/>
              </a:ext>
            </a:extLst>
          </p:cNvPr>
          <p:cNvSpPr>
            <a:spLocks noGrp="1"/>
          </p:cNvSpPr>
          <p:nvPr>
            <p:ph type="tbl" sz="quarter" idx="14"/>
          </p:nvPr>
        </p:nvSpPr>
        <p:spPr>
          <a:xfrm>
            <a:off x="482600" y="1279525"/>
            <a:ext cx="11226801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8288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table</a:t>
            </a:r>
          </a:p>
        </p:txBody>
      </p:sp>
      <p:sp>
        <p:nvSpPr>
          <p:cNvPr id="7" name="Title Placeholder 3">
            <a:extLst>
              <a:ext uri="{FF2B5EF4-FFF2-40B4-BE49-F238E27FC236}">
                <a16:creationId xmlns:a16="http://schemas.microsoft.com/office/drawing/2014/main" id="{100349ED-FE74-DE40-94E4-8EEDB7D8D86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CE05261D-1702-46DC-A001-5D4BF57C04F1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E95EAA4-60F0-486B-A0AE-7C50B2CB10B9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36955954"/>
      </p:ext>
    </p:extLst>
  </p:cSld>
  <p:clrMapOvr>
    <a:masterClrMapping/>
  </p:clrMapOvr>
  <p:transition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2_vert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1872C2C3-5678-214D-A79C-91AA2B5C0451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226378534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1872C2C3-5678-214D-A79C-91AA2B5C0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FC8A025-C053-9F4D-A46E-85A35B0A36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6768" y="1506538"/>
            <a:ext cx="2716833" cy="4138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F112554-4362-224B-B75E-C517E2D83B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600" y="1506538"/>
            <a:ext cx="2626888" cy="4138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DCA6BBAF-45ED-1A42-94F6-ED135B5CA3F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Content Placeholder 12">
            <a:extLst>
              <a:ext uri="{FF2B5EF4-FFF2-40B4-BE49-F238E27FC236}">
                <a16:creationId xmlns:a16="http://schemas.microsoft.com/office/drawing/2014/main" id="{564397B5-3338-42D4-A999-5E705988783E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257925" y="1506538"/>
            <a:ext cx="5461000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E76E728B-AB9F-4BB0-93AE-807B0BF16B06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95A9560B-E235-4D57-9181-4229DE881677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55282239"/>
      </p:ext>
    </p:extLst>
  </p:cSld>
  <p:clrMapOvr>
    <a:masterClrMapping/>
  </p:clrMapOvr>
  <p:transition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3_vert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D51E8F07-1397-E84F-96B8-1F0F671594C0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82912130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D51E8F07-1397-E84F-96B8-1F0F671594C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4F112554-4362-224B-B75E-C517E2D83B2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598" y="1506538"/>
            <a:ext cx="2626889" cy="4138888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CD1FFB24-C279-7140-86E7-BB93CCB34445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6768" y="1506538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3826C3B5-9557-EB45-A8B2-2882FD38FB25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6768" y="3633512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61D2B331-020E-D848-8167-C767E363B7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6FFC098-AD8A-4E4F-922C-51BA7D4EEC3A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8401" y="1506262"/>
            <a:ext cx="5451474" cy="4138888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BCB4E3A0-16CC-4468-9A7F-57494E34068F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4F014F63-B825-4D95-9F38-B326C0D197C2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59574614"/>
      </p:ext>
    </p:extLst>
  </p:cSld>
  <p:clrMapOvr>
    <a:masterClrMapping/>
  </p:clrMapOvr>
  <p:transition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4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58CED72-A9DA-CE4E-BA0F-E69E6914AED6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90560757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58CED72-A9DA-CE4E-BA0F-E69E6914AED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Picture Placeholder 4">
            <a:extLst>
              <a:ext uri="{FF2B5EF4-FFF2-40B4-BE49-F238E27FC236}">
                <a16:creationId xmlns:a16="http://schemas.microsoft.com/office/drawing/2014/main" id="{0E80AD9A-FD5B-EA44-A12B-8681778D8011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599" y="1506538"/>
            <a:ext cx="2618411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BFC8A025-C053-9F4D-A46E-85A35B0A363A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3226768" y="1506538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096F711A-322E-6D48-B51F-6BE3CFE5FD8B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600" y="3633512"/>
            <a:ext cx="2618409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FE422563-3616-044B-9118-FE2FFC246F47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6768" y="3633512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2724B108-42F4-3F44-A3FA-737499C39852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Content Placeholder 7">
            <a:extLst>
              <a:ext uri="{FF2B5EF4-FFF2-40B4-BE49-F238E27FC236}">
                <a16:creationId xmlns:a16="http://schemas.microsoft.com/office/drawing/2014/main" id="{BF62F77E-3BF9-46E4-BB0A-6C0DF7A1B38E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45225" y="1506538"/>
            <a:ext cx="5464175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Footer Placeholder 6">
            <a:extLst>
              <a:ext uri="{FF2B5EF4-FFF2-40B4-BE49-F238E27FC236}">
                <a16:creationId xmlns:a16="http://schemas.microsoft.com/office/drawing/2014/main" id="{7EED3896-1B92-474B-BC30-BD74E2AB311E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F7582AFA-9F2F-4C08-9EF6-4431F343176C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461672463"/>
      </p:ext>
    </p:extLst>
  </p:cSld>
  <p:clrMapOvr>
    <a:masterClrMapping/>
  </p:clrMapOvr>
  <p:transition/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2_horz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842B016-C661-4548-BD5D-F50FDF2DFBF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3366833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842B016-C661-4548-BD5D-F50FDF2DFBF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7F9D7C0-3C65-8A42-BB74-BE0376E505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599" y="1506538"/>
            <a:ext cx="546100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0FB96699-3013-B040-9E44-0087490053B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599" y="3633512"/>
            <a:ext cx="546100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0" name="Title Placeholder 3">
            <a:extLst>
              <a:ext uri="{FF2B5EF4-FFF2-40B4-BE49-F238E27FC236}">
                <a16:creationId xmlns:a16="http://schemas.microsoft.com/office/drawing/2014/main" id="{53A8037F-5722-6C4D-A146-B8C534501A0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DBBF659F-20EB-4418-9709-CBBAE0A79419}"/>
              </a:ext>
            </a:extLst>
          </p:cNvPr>
          <p:cNvSpPr>
            <a:spLocks noGrp="1"/>
          </p:cNvSpPr>
          <p:nvPr>
            <p:ph sz="quarter" idx="21"/>
          </p:nvPr>
        </p:nvSpPr>
        <p:spPr>
          <a:xfrm>
            <a:off x="6248400" y="1506538"/>
            <a:ext cx="5451475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56F206D-611F-479D-B997-4DAE9B3965C4}"/>
              </a:ext>
            </a:extLst>
          </p:cNvPr>
          <p:cNvSpPr>
            <a:spLocks noGrp="1"/>
          </p:cNvSpPr>
          <p:nvPr>
            <p:ph type="ftr" sz="quarter" idx="22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E5293EE5-9D7B-44BA-BCEF-F76E0EC0A331}"/>
              </a:ext>
            </a:extLst>
          </p:cNvPr>
          <p:cNvSpPr>
            <a:spLocks noGrp="1"/>
          </p:cNvSpPr>
          <p:nvPr>
            <p:ph type="sldNum" sz="quarter" idx="23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231715305"/>
      </p:ext>
    </p:extLst>
  </p:cSld>
  <p:clrMapOvr>
    <a:masterClrMapping/>
  </p:clrMapOvr>
  <p:transition/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2col_3_horz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1AD77F6-E3CA-4B4A-A7E0-7A2661D329E7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437422556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1AD77F6-E3CA-4B4A-A7E0-7A2661D329E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7F9D7C0-3C65-8A42-BB74-BE0376E505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600" y="1506538"/>
            <a:ext cx="5461001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1" name="Picture Placeholder 4">
            <a:extLst>
              <a:ext uri="{FF2B5EF4-FFF2-40B4-BE49-F238E27FC236}">
                <a16:creationId xmlns:a16="http://schemas.microsoft.com/office/drawing/2014/main" id="{F6611369-8EEB-C34A-B7DC-0541B5E37734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482599" y="3633512"/>
            <a:ext cx="2618411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3" name="Picture Placeholder 4">
            <a:extLst>
              <a:ext uri="{FF2B5EF4-FFF2-40B4-BE49-F238E27FC236}">
                <a16:creationId xmlns:a16="http://schemas.microsoft.com/office/drawing/2014/main" id="{C7C16284-8C89-ED4B-8409-B70C235BF149}"/>
              </a:ext>
            </a:extLst>
          </p:cNvPr>
          <p:cNvSpPr>
            <a:spLocks noGrp="1"/>
          </p:cNvSpPr>
          <p:nvPr>
            <p:ph type="pic" sz="quarter" idx="17"/>
          </p:nvPr>
        </p:nvSpPr>
        <p:spPr>
          <a:xfrm>
            <a:off x="3226768" y="3633512"/>
            <a:ext cx="2716833" cy="2011914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45720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4" name="Title Placeholder 3">
            <a:extLst>
              <a:ext uri="{FF2B5EF4-FFF2-40B4-BE49-F238E27FC236}">
                <a16:creationId xmlns:a16="http://schemas.microsoft.com/office/drawing/2014/main" id="{BC8860FF-9C5C-5B45-B376-98C6646CE6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7C35E390-1768-405B-81E5-17917042FFC9}"/>
              </a:ext>
            </a:extLst>
          </p:cNvPr>
          <p:cNvSpPr>
            <a:spLocks noGrp="1"/>
          </p:cNvSpPr>
          <p:nvPr>
            <p:ph sz="quarter" idx="22"/>
          </p:nvPr>
        </p:nvSpPr>
        <p:spPr>
          <a:xfrm>
            <a:off x="6254151" y="1506538"/>
            <a:ext cx="5469537" cy="4138612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C272F32C-1E39-45F6-BE37-58E176EA52E8}"/>
              </a:ext>
            </a:extLst>
          </p:cNvPr>
          <p:cNvSpPr>
            <a:spLocks noGrp="1"/>
          </p:cNvSpPr>
          <p:nvPr>
            <p:ph type="ftr" sz="quarter" idx="23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12997D3F-9038-4785-9BB7-6AF782F1C554}"/>
              </a:ext>
            </a:extLst>
          </p:cNvPr>
          <p:cNvSpPr>
            <a:spLocks noGrp="1"/>
          </p:cNvSpPr>
          <p:nvPr>
            <p:ph type="sldNum" sz="quarter" idx="24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834746605"/>
      </p:ext>
    </p:extLst>
  </p:cSld>
  <p:clrMapOvr>
    <a:masterClrMapping/>
  </p:clrMapOvr>
  <p:transition/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3_images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0F5F5964-656B-7443-B018-0888EAF09F4D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109394532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0F5F5964-656B-7443-B018-0888EAF09F4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Picture Placeholder 4">
            <a:extLst>
              <a:ext uri="{FF2B5EF4-FFF2-40B4-BE49-F238E27FC236}">
                <a16:creationId xmlns:a16="http://schemas.microsoft.com/office/drawing/2014/main" id="{57F9D7C0-3C65-8A42-BB74-BE0376E505CF}"/>
              </a:ext>
            </a:extLst>
          </p:cNvPr>
          <p:cNvSpPr>
            <a:spLocks noGrp="1"/>
          </p:cNvSpPr>
          <p:nvPr>
            <p:ph type="pic" sz="quarter" idx="14"/>
          </p:nvPr>
        </p:nvSpPr>
        <p:spPr>
          <a:xfrm>
            <a:off x="482601" y="1279525"/>
            <a:ext cx="3549652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73736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5" name="Picture Placeholder 4">
            <a:extLst>
              <a:ext uri="{FF2B5EF4-FFF2-40B4-BE49-F238E27FC236}">
                <a16:creationId xmlns:a16="http://schemas.microsoft.com/office/drawing/2014/main" id="{2765CB43-7D52-8840-AD2C-2C0022EB12A6}"/>
              </a:ext>
            </a:extLst>
          </p:cNvPr>
          <p:cNvSpPr>
            <a:spLocks noGrp="1"/>
          </p:cNvSpPr>
          <p:nvPr>
            <p:ph type="pic" sz="quarter" idx="15"/>
          </p:nvPr>
        </p:nvSpPr>
        <p:spPr>
          <a:xfrm>
            <a:off x="4326468" y="1279525"/>
            <a:ext cx="3539067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73736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16" name="Picture Placeholder 4">
            <a:extLst>
              <a:ext uri="{FF2B5EF4-FFF2-40B4-BE49-F238E27FC236}">
                <a16:creationId xmlns:a16="http://schemas.microsoft.com/office/drawing/2014/main" id="{BCE19944-E91D-F543-B555-B14F81FBD11A}"/>
              </a:ext>
            </a:extLst>
          </p:cNvPr>
          <p:cNvSpPr>
            <a:spLocks noGrp="1"/>
          </p:cNvSpPr>
          <p:nvPr>
            <p:ph type="pic" sz="quarter" idx="16"/>
          </p:nvPr>
        </p:nvSpPr>
        <p:spPr>
          <a:xfrm>
            <a:off x="8170334" y="1279525"/>
            <a:ext cx="3549652" cy="4803775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173736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ext Placeholder 3">
            <a:extLst>
              <a:ext uri="{FF2B5EF4-FFF2-40B4-BE49-F238E27FC236}">
                <a16:creationId xmlns:a16="http://schemas.microsoft.com/office/drawing/2014/main" id="{264DF37B-FB91-1F42-826A-DB6E563AE26C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2599" y="6083302"/>
            <a:ext cx="8966203" cy="285770"/>
          </a:xfrm>
          <a:prstGeom prst="rect">
            <a:avLst/>
          </a:prstGeom>
        </p:spPr>
        <p:txBody>
          <a:bodyPr anchor="t" anchorCtr="0">
            <a:noAutofit/>
          </a:bodyPr>
          <a:lstStyle>
            <a:lvl1pPr marL="234950" indent="-234950">
              <a:spcAft>
                <a:spcPts val="0"/>
              </a:spcAft>
              <a:buClrTx/>
              <a:buFont typeface="+mj-lt"/>
              <a:buAutoNum type="arabicPeriod"/>
              <a:tabLst/>
              <a:defRPr sz="75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</a:t>
            </a:r>
          </a:p>
        </p:txBody>
      </p:sp>
      <p:sp>
        <p:nvSpPr>
          <p:cNvPr id="11" name="Title Placeholder 3">
            <a:extLst>
              <a:ext uri="{FF2B5EF4-FFF2-40B4-BE49-F238E27FC236}">
                <a16:creationId xmlns:a16="http://schemas.microsoft.com/office/drawing/2014/main" id="{AD20262C-97C4-5340-98E7-B4F32DBD36D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1AEF4D78-D029-4B64-8874-B738D7C995BE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EB5CB9B6-B89D-4000-920E-E7DFF0D4BB6E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75345076"/>
      </p:ext>
    </p:extLst>
  </p:cSld>
  <p:clrMapOvr>
    <a:masterClrMapping/>
  </p:clrMapOvr>
  <p:transition/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036835-8864-4343-81F5-5D73775AD9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23424464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036835-8864-4343-81F5-5D73775AD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DF65A8AF-5E05-3E42-9261-31CB865CEED9}"/>
              </a:ext>
            </a:extLst>
          </p:cNvPr>
          <p:cNvSpPr>
            <a:spLocks noGrp="1"/>
          </p:cNvSpPr>
          <p:nvPr>
            <p:ph type="pic" sz="quarter" idx="10"/>
          </p:nvPr>
        </p:nvSpPr>
        <p:spPr>
          <a:xfrm>
            <a:off x="482601" y="1279525"/>
            <a:ext cx="11226800" cy="4798700"/>
          </a:xfrm>
          <a:prstGeom prst="rect">
            <a:avLst/>
          </a:prstGeom>
          <a:solidFill>
            <a:schemeClr val="bg1">
              <a:lumMod val="95000"/>
            </a:schemeClr>
          </a:solidFill>
        </p:spPr>
        <p:txBody>
          <a:bodyPr tIns="2103120">
            <a:normAutofit/>
          </a:bodyPr>
          <a:lstStyle>
            <a:lvl1pPr marL="0" indent="0" algn="ctr">
              <a:buFontTx/>
              <a:buNone/>
              <a:defRPr sz="1200">
                <a:solidFill>
                  <a:srgbClr val="FF0000"/>
                </a:solidFill>
              </a:defRPr>
            </a:lvl1pPr>
          </a:lstStyle>
          <a:p>
            <a:r>
              <a:rPr lang="en-US"/>
              <a:t>Click icon to add picture</a:t>
            </a:r>
          </a:p>
        </p:txBody>
      </p:sp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2D9E4EF-3A69-034F-90D2-EE637E501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DCD6D5A8-5294-4098-9595-13CFDA93F49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0" name="Slide Number Placeholder 9">
            <a:extLst>
              <a:ext uri="{FF2B5EF4-FFF2-40B4-BE49-F238E27FC236}">
                <a16:creationId xmlns:a16="http://schemas.microsoft.com/office/drawing/2014/main" id="{D6C961B3-EAC7-4509-84FA-C6C535A8E6A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023587454"/>
      </p:ext>
    </p:extLst>
  </p:cSld>
  <p:clrMapOvr>
    <a:masterClrMapping/>
  </p:clrMapOvr>
  <p:transition/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full image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D0036835-8864-4343-81F5-5D73775AD95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5878773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D0036835-8864-4343-81F5-5D73775AD95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42D9E4EF-3A69-034F-90D2-EE637E501A98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Footer Placeholder 2">
            <a:extLst>
              <a:ext uri="{FF2B5EF4-FFF2-40B4-BE49-F238E27FC236}">
                <a16:creationId xmlns:a16="http://schemas.microsoft.com/office/drawing/2014/main" id="{23B1DABA-F94D-44DC-9C82-EA592133B8C0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0868D48B-6CE4-422C-80E3-C4D3AE876157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634223224"/>
      </p:ext>
    </p:extLst>
  </p:cSld>
  <p:clrMapOvr>
    <a:masterClrMapping/>
  </p:clrMapOvr>
  <p:transition/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cov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ED9FD47B-E72F-AD4B-9CDC-33942DD7E23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80214723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ED9FD47B-E72F-AD4B-9CDC-33942DD7E23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7" name="Picture Placeholder 26">
            <a:extLst>
              <a:ext uri="{FF2B5EF4-FFF2-40B4-BE49-F238E27FC236}">
                <a16:creationId xmlns:a16="http://schemas.microsoft.com/office/drawing/2014/main" id="{67ABE8BD-8578-B743-B157-F5CE01B2DCE9}"/>
              </a:ext>
            </a:extLst>
          </p:cNvPr>
          <p:cNvSpPr>
            <a:spLocks noGrp="1"/>
          </p:cNvSpPr>
          <p:nvPr>
            <p:ph type="pic" sz="quarter" idx="15" hasCustomPrompt="1"/>
          </p:nvPr>
        </p:nvSpPr>
        <p:spPr>
          <a:xfrm>
            <a:off x="4827767" y="0"/>
            <a:ext cx="7357761" cy="6853238"/>
          </a:xfrm>
          <a:custGeom>
            <a:avLst/>
            <a:gdLst>
              <a:gd name="connsiteX0" fmla="*/ 3648321 w 7357761"/>
              <a:gd name="connsiteY0" fmla="*/ 0 h 6853238"/>
              <a:gd name="connsiteX1" fmla="*/ 7192592 w 7357761"/>
              <a:gd name="connsiteY1" fmla="*/ 0 h 6853238"/>
              <a:gd name="connsiteX2" fmla="*/ 7357635 w 7357761"/>
              <a:gd name="connsiteY2" fmla="*/ 0 h 6853238"/>
              <a:gd name="connsiteX3" fmla="*/ 7357760 w 7357761"/>
              <a:gd name="connsiteY3" fmla="*/ 0 h 6853238"/>
              <a:gd name="connsiteX4" fmla="*/ 7357635 w 7357761"/>
              <a:gd name="connsiteY4" fmla="*/ 235 h 6853238"/>
              <a:gd name="connsiteX5" fmla="*/ 7357761 w 7357761"/>
              <a:gd name="connsiteY5" fmla="*/ 1204214 h 6853238"/>
              <a:gd name="connsiteX6" fmla="*/ 4372831 w 7357761"/>
              <a:gd name="connsiteY6" fmla="*/ 6853238 h 6853238"/>
              <a:gd name="connsiteX7" fmla="*/ 0 w 7357761"/>
              <a:gd name="connsiteY7" fmla="*/ 6853238 h 6853238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</a:cxnLst>
            <a:rect l="l" t="t" r="r" b="b"/>
            <a:pathLst>
              <a:path w="7357761" h="6853238">
                <a:moveTo>
                  <a:pt x="3648321" y="0"/>
                </a:moveTo>
                <a:lnTo>
                  <a:pt x="7192592" y="0"/>
                </a:lnTo>
                <a:lnTo>
                  <a:pt x="7357635" y="0"/>
                </a:lnTo>
                <a:lnTo>
                  <a:pt x="7357760" y="0"/>
                </a:lnTo>
                <a:lnTo>
                  <a:pt x="7357635" y="235"/>
                </a:lnTo>
                <a:lnTo>
                  <a:pt x="7357761" y="1204214"/>
                </a:lnTo>
                <a:lnTo>
                  <a:pt x="4372831" y="6853238"/>
                </a:lnTo>
                <a:lnTo>
                  <a:pt x="0" y="6853238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wrap="square" rIns="365760" anchor="ctr" anchorCtr="1">
            <a:noAutofit/>
          </a:bodyPr>
          <a:lstStyle>
            <a:lvl1pPr marL="0" marR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>
                <a:solidFill>
                  <a:srgbClr val="FF0000"/>
                </a:solidFill>
              </a:defRPr>
            </a:lvl1pPr>
          </a:lstStyle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r>
              <a:rPr lang="en-US" dirty="0"/>
              <a:t>To use this slide:</a:t>
            </a:r>
            <a:br>
              <a:rPr lang="en-US" dirty="0"/>
            </a:br>
            <a:r>
              <a:rPr lang="en-US" dirty="0"/>
              <a:t>1. Go to Slide master and send overlay to back. </a:t>
            </a:r>
            <a:br>
              <a:rPr lang="en-US" dirty="0"/>
            </a:br>
            <a:r>
              <a:rPr lang="en-US" dirty="0"/>
              <a:t>2. Close Slide master.</a:t>
            </a:r>
            <a:br>
              <a:rPr lang="en-US" dirty="0"/>
            </a:br>
            <a:r>
              <a:rPr lang="en-US" dirty="0"/>
              <a:t>3. Click on icon to insert picture. </a:t>
            </a:r>
            <a:br>
              <a:rPr lang="en-US" dirty="0"/>
            </a:br>
            <a:r>
              <a:rPr lang="en-US" dirty="0"/>
              <a:t>4. Go to Slide master and send picture </a:t>
            </a:r>
            <a:br>
              <a:rPr lang="en-US" dirty="0"/>
            </a:br>
            <a:r>
              <a:rPr lang="en-US" dirty="0"/>
              <a:t>	placeholder to back.</a:t>
            </a:r>
            <a:br>
              <a:rPr lang="en-US" dirty="0"/>
            </a:br>
            <a:r>
              <a:rPr lang="en-US" dirty="0"/>
              <a:t>6. Close Slide master.</a:t>
            </a:r>
            <a:br>
              <a:rPr lang="en-US" dirty="0"/>
            </a:b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endParaRPr lang="en-US" dirty="0"/>
          </a:p>
          <a:p>
            <a:endParaRPr lang="en-US" dirty="0"/>
          </a:p>
        </p:txBody>
      </p:sp>
      <p:pic>
        <p:nvPicPr>
          <p:cNvPr id="11" name="Graphic 10">
            <a:extLst>
              <a:ext uri="{FF2B5EF4-FFF2-40B4-BE49-F238E27FC236}">
                <a16:creationId xmlns:a16="http://schemas.microsoft.com/office/drawing/2014/main" id="{3B80CD3B-011A-484D-9C8F-7440555DE29D}"/>
              </a:ext>
            </a:extLst>
          </p:cNvPr>
          <p:cNvPicPr>
            <a:picLocks noChangeAspect="1"/>
          </p:cNvPicPr>
          <p:nvPr/>
        </p:nvPicPr>
        <p:blipFill>
          <a:blip r:embed="rId5">
            <a:extLst>
              <a:ext uri="{96DAC541-7B7A-43D3-8B79-37D633B846F1}">
                <asvg:svgBlip xmlns:asvg="http://schemas.microsoft.com/office/drawing/2016/SVG/main" r:embed="rId6"/>
              </a:ext>
            </a:extLst>
          </a:blip>
          <a:stretch>
            <a:fillRect/>
          </a:stretch>
        </p:blipFill>
        <p:spPr>
          <a:xfrm>
            <a:off x="9981691" y="6161405"/>
            <a:ext cx="1828800" cy="450335"/>
          </a:xfrm>
          <a:prstGeom prst="rect">
            <a:avLst/>
          </a:prstGeom>
        </p:spPr>
      </p:pic>
      <p:sp>
        <p:nvSpPr>
          <p:cNvPr id="13" name="Freeform 12">
            <a:extLst>
              <a:ext uri="{FF2B5EF4-FFF2-40B4-BE49-F238E27FC236}">
                <a16:creationId xmlns:a16="http://schemas.microsoft.com/office/drawing/2014/main" id="{A66D950D-689F-B049-9A1F-088A67FFECFC}"/>
              </a:ext>
            </a:extLst>
          </p:cNvPr>
          <p:cNvSpPr/>
          <p:nvPr/>
        </p:nvSpPr>
        <p:spPr>
          <a:xfrm>
            <a:off x="9198267" y="1200530"/>
            <a:ext cx="2987896" cy="5653277"/>
          </a:xfrm>
          <a:custGeom>
            <a:avLst/>
            <a:gdLst>
              <a:gd name="connsiteX0" fmla="*/ 2987897 w 2987896"/>
              <a:gd name="connsiteY0" fmla="*/ 5653278 h 5653277"/>
              <a:gd name="connsiteX1" fmla="*/ 2987262 w 2987896"/>
              <a:gd name="connsiteY1" fmla="*/ 0 h 5653277"/>
              <a:gd name="connsiteX2" fmla="*/ 0 w 2987896"/>
              <a:gd name="connsiteY2" fmla="*/ 5653278 h 5653277"/>
              <a:gd name="connsiteX3" fmla="*/ 2987897 w 2987896"/>
              <a:gd name="connsiteY3" fmla="*/ 5653278 h 5653277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2987896" h="5653277">
                <a:moveTo>
                  <a:pt x="2987897" y="5653278"/>
                </a:moveTo>
                <a:lnTo>
                  <a:pt x="2987262" y="0"/>
                </a:lnTo>
                <a:lnTo>
                  <a:pt x="0" y="5653278"/>
                </a:lnTo>
                <a:lnTo>
                  <a:pt x="2987897" y="5653278"/>
                </a:lnTo>
                <a:close/>
              </a:path>
            </a:pathLst>
          </a:custGeom>
          <a:solidFill>
            <a:srgbClr val="001C71"/>
          </a:solidFill>
          <a:ln w="12679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00" y="1012508"/>
            <a:ext cx="5765800" cy="2729498"/>
          </a:xfrm>
          <a:prstGeom prst="rect">
            <a:avLst/>
          </a:prstGeom>
        </p:spPr>
        <p:txBody>
          <a:bodyPr vert="horz" rIns="0" anchor="b" anchorCtr="0">
            <a:normAutofit/>
          </a:bodyPr>
          <a:lstStyle>
            <a:lvl1pPr>
              <a:lnSpc>
                <a:spcPct val="100000"/>
              </a:lnSpc>
              <a:defRPr sz="56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5" name="Text Placeholder 5">
            <a:extLst>
              <a:ext uri="{FF2B5EF4-FFF2-40B4-BE49-F238E27FC236}">
                <a16:creationId xmlns:a16="http://schemas.microsoft.com/office/drawing/2014/main" id="{50553CE8-3D59-DE47-9987-E948068F080F}"/>
              </a:ext>
            </a:extLst>
          </p:cNvPr>
          <p:cNvSpPr>
            <a:spLocks noGrp="1"/>
          </p:cNvSpPr>
          <p:nvPr>
            <p:ph type="body" sz="quarter" idx="12" hasCustomPrompt="1"/>
          </p:nvPr>
        </p:nvSpPr>
        <p:spPr>
          <a:xfrm>
            <a:off x="482600" y="4009292"/>
            <a:ext cx="4821768" cy="1738221"/>
          </a:xfrm>
          <a:prstGeom prst="rect">
            <a:avLst/>
          </a:prstGeom>
        </p:spPr>
        <p:txBody>
          <a:bodyPr numCol="1">
            <a:normAutofit/>
          </a:bodyPr>
          <a:lstStyle>
            <a:lvl1pPr marL="0" indent="0">
              <a:spcBef>
                <a:spcPts val="0"/>
              </a:spcBef>
              <a:buFontTx/>
              <a:buNone/>
              <a:defRPr sz="2400" b="1" cap="none" baseline="0">
                <a:solidFill>
                  <a:schemeClr val="bg2"/>
                </a:solidFill>
              </a:defRPr>
            </a:lvl1pPr>
            <a:lvl2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2pPr>
            <a:lvl3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3pPr>
            <a:lvl4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4pPr>
            <a:lvl5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5pPr>
            <a:lvl6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6pPr>
            <a:lvl7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7pPr>
            <a:lvl8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8pPr>
            <a:lvl9pPr marL="0" indent="0">
              <a:buFontTx/>
              <a:buNone/>
              <a:defRPr sz="2400">
                <a:solidFill>
                  <a:schemeClr val="bg1">
                    <a:lumMod val="50000"/>
                  </a:schemeClr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10" name="Text Placeholder 5">
            <a:extLst>
              <a:ext uri="{FF2B5EF4-FFF2-40B4-BE49-F238E27FC236}">
                <a16:creationId xmlns:a16="http://schemas.microsoft.com/office/drawing/2014/main" id="{B18821D3-68E1-D941-A9E9-201D6578367A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82600" y="5754052"/>
            <a:ext cx="3543301" cy="369888"/>
          </a:xfrm>
          <a:prstGeom prst="rect">
            <a:avLst/>
          </a:prstGeom>
        </p:spPr>
        <p:txBody>
          <a:bodyPr anchor="b">
            <a:noAutofit/>
          </a:bodyPr>
          <a:lstStyle>
            <a:lvl1pPr marL="0" indent="0">
              <a:buFont typeface="Wingdings" pitchFamily="2" charset="2"/>
              <a:buNone/>
              <a:defRPr sz="16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Fecha</a:t>
            </a:r>
            <a:endParaRPr lang="en-US" dirty="0"/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B5AFA9B5-36D3-8344-B0B7-B460BABC1E20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8398934" y="0"/>
            <a:ext cx="3786595" cy="6853809"/>
          </a:xfrm>
          <a:custGeom>
            <a:avLst/>
            <a:gdLst>
              <a:gd name="connsiteX0" fmla="*/ 3621428 w 3786595"/>
              <a:gd name="connsiteY0" fmla="*/ 0 h 6853809"/>
              <a:gd name="connsiteX1" fmla="*/ 3786471 w 3786595"/>
              <a:gd name="connsiteY1" fmla="*/ 0 h 6853809"/>
              <a:gd name="connsiteX2" fmla="*/ 3786595 w 3786595"/>
              <a:gd name="connsiteY2" fmla="*/ 1185443 h 6853809"/>
              <a:gd name="connsiteX3" fmla="*/ 3786595 w 3786595"/>
              <a:gd name="connsiteY3" fmla="*/ 1204218 h 6853809"/>
              <a:gd name="connsiteX4" fmla="*/ 801365 w 3786595"/>
              <a:gd name="connsiteY4" fmla="*/ 6853809 h 6853809"/>
              <a:gd name="connsiteX5" fmla="*/ 87913 w 3786595"/>
              <a:gd name="connsiteY5" fmla="*/ 6853809 h 6853809"/>
              <a:gd name="connsiteX6" fmla="*/ 0 w 3786595"/>
              <a:gd name="connsiteY6" fmla="*/ 6853682 h 685380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</a:cxnLst>
            <a:rect l="l" t="t" r="r" b="b"/>
            <a:pathLst>
              <a:path w="3786595" h="6853809">
                <a:moveTo>
                  <a:pt x="3621428" y="0"/>
                </a:moveTo>
                <a:lnTo>
                  <a:pt x="3786471" y="0"/>
                </a:lnTo>
                <a:lnTo>
                  <a:pt x="3786595" y="1185443"/>
                </a:lnTo>
                <a:lnTo>
                  <a:pt x="3786595" y="1204218"/>
                </a:lnTo>
                <a:lnTo>
                  <a:pt x="801365" y="6853809"/>
                </a:lnTo>
                <a:lnTo>
                  <a:pt x="87913" y="6853809"/>
                </a:lnTo>
                <a:lnTo>
                  <a:pt x="0" y="6853682"/>
                </a:lnTo>
                <a:close/>
              </a:path>
            </a:pathLst>
          </a:custGeom>
          <a:gradFill>
            <a:gsLst>
              <a:gs pos="0">
                <a:schemeClr val="bg2">
                  <a:alpha val="90000"/>
                </a:schemeClr>
              </a:gs>
              <a:gs pos="72000">
                <a:schemeClr val="tx2">
                  <a:alpha val="90000"/>
                </a:schemeClr>
              </a:gs>
            </a:gsLst>
            <a:lin ang="0" scaled="1"/>
          </a:gradFill>
        </p:spPr>
        <p:txBody>
          <a:bodyPr vert="vert270" wrap="square" lIns="457200" tIns="0" rIns="0" bIns="0" rtlCol="0" anchor="t" anchorCtr="0">
            <a:noAutofit/>
          </a:bodyPr>
          <a:lstStyle>
            <a:lvl1pPr>
              <a:defRPr lang="en-US" sz="800" dirty="0" smtClean="0">
                <a:solidFill>
                  <a:srgbClr val="66C3E9"/>
                </a:solidFill>
              </a:defRPr>
            </a:lvl1pPr>
          </a:lstStyle>
          <a:p>
            <a:pPr lvl="0"/>
            <a:r>
              <a:rPr lang="en-US" dirty="0"/>
              <a:t>OVERLAY</a:t>
            </a:r>
          </a:p>
        </p:txBody>
      </p:sp>
      <p:pic>
        <p:nvPicPr>
          <p:cNvPr id="12" name="Graphic 25">
            <a:extLst>
              <a:ext uri="{FF2B5EF4-FFF2-40B4-BE49-F238E27FC236}">
                <a16:creationId xmlns:a16="http://schemas.microsoft.com/office/drawing/2014/main" id="{8BDF52B1-9EB9-E64C-B867-0E943E885553}"/>
              </a:ext>
            </a:extLst>
          </p:cNvPr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0272080" y="6045232"/>
            <a:ext cx="1497872" cy="34718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77314444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</p:spPr>
        <p:txBody>
          <a:bodyPr/>
          <a:lstStyle/>
          <a:p>
            <a:r>
              <a:rPr lang="es-ES"/>
              <a:t>Haga clic para modificar el estilo de título del patrón</a:t>
            </a:r>
            <a:endParaRPr lang="es-MX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s-ES"/>
              <a:t>Haga clic para modificar el estilo de subtítulo del patrón</a:t>
            </a:r>
            <a:endParaRPr lang="es-MX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4735B2AF-9746-4648-AAEA-AA387AD811B1}" type="datetimeFigureOut">
              <a:rPr lang="es-MX" smtClean="0"/>
              <a:t>25/09/2023</a:t>
            </a:fld>
            <a:endParaRPr lang="es-MX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/>
          <a:lstStyle/>
          <a:p>
            <a:endParaRPr lang="es-MX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249897348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ide no blue sentence 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79082154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6">
            <a:extLst>
              <a:ext uri="{FF2B5EF4-FFF2-40B4-BE49-F238E27FC236}">
                <a16:creationId xmlns:a16="http://schemas.microsoft.com/office/drawing/2014/main" id="{6E9E4A80-3BA3-124D-9B24-F7CF47D2D1E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7" y="457201"/>
            <a:ext cx="11216640" cy="536553"/>
          </a:xfrm>
          <a:prstGeom prst="rect">
            <a:avLst/>
          </a:prstGeom>
        </p:spPr>
        <p:txBody>
          <a:bodyPr anchor="b"/>
          <a:lstStyle>
            <a:lvl1pPr>
              <a:defRPr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>
            <a:extLst>
              <a:ext uri="{FF2B5EF4-FFF2-40B4-BE49-F238E27FC236}">
                <a16:creationId xmlns:a16="http://schemas.microsoft.com/office/drawing/2014/main" id="{E59D7253-F336-40C3-B8DB-BC4E7A515F0D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497416" y="1100531"/>
            <a:ext cx="11211984" cy="4617720"/>
          </a:xfrm>
        </p:spPr>
        <p:txBody>
          <a:bodyPr/>
          <a:lstStyle>
            <a:lvl1pPr>
              <a:spcAft>
                <a:spcPts val="1200"/>
              </a:spcAft>
              <a:defRPr sz="1400">
                <a:solidFill>
                  <a:schemeClr val="tx1"/>
                </a:solidFill>
              </a:defRPr>
            </a:lvl1pPr>
            <a:lvl2pPr>
              <a:spcAft>
                <a:spcPts val="1200"/>
              </a:spcAft>
              <a:defRPr sz="1400"/>
            </a:lvl2pPr>
            <a:lvl3pPr>
              <a:spcAft>
                <a:spcPts val="1200"/>
              </a:spcAft>
              <a:defRPr sz="1400"/>
            </a:lvl3pPr>
            <a:lvl4pPr>
              <a:spcAft>
                <a:spcPts val="1200"/>
              </a:spcAft>
              <a:defRPr sz="1400"/>
            </a:lvl4pPr>
            <a:lvl5pPr>
              <a:spcAft>
                <a:spcPts val="1200"/>
              </a:spcAft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A73E8450-28A8-A6F0-3571-A948467527AD}"/>
              </a:ext>
            </a:extLst>
          </p:cNvPr>
          <p:cNvSpPr>
            <a:spLocks noGrp="1"/>
          </p:cNvSpPr>
          <p:nvPr>
            <p:ph type="body" sz="half" idx="2" hasCustomPrompt="1"/>
          </p:nvPr>
        </p:nvSpPr>
        <p:spPr>
          <a:xfrm>
            <a:off x="482599" y="6083302"/>
            <a:ext cx="9753600" cy="433570"/>
          </a:xfrm>
        </p:spPr>
        <p:txBody>
          <a:bodyPr anchor="b">
            <a:noAutofit/>
          </a:bodyPr>
          <a:lstStyle>
            <a:lvl1pPr marL="234950" indent="-234950">
              <a:spcAft>
                <a:spcPts val="0"/>
              </a:spcAft>
              <a:buClrTx/>
              <a:buSzPct val="100000"/>
              <a:buFont typeface="+mj-lt"/>
              <a:buAutoNum type="arabicPeriod"/>
              <a:tabLst/>
              <a:defRPr sz="900" b="0">
                <a:solidFill>
                  <a:schemeClr val="tx1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 dirty="0"/>
              <a:t>Click to add footnote; Footnotes should not have a period at the end, or in the middle of the footnote; To break up a footnote sentence use a semi-colon</a:t>
            </a:r>
          </a:p>
        </p:txBody>
      </p:sp>
    </p:spTree>
    <p:extLst>
      <p:ext uri="{BB962C8B-B14F-4D97-AF65-F5344CB8AC3E}">
        <p14:creationId xmlns:p14="http://schemas.microsoft.com/office/powerpoint/2010/main" val="2136789828"/>
      </p:ext>
    </p:extLst>
  </p:cSld>
  <p:clrMapOvr>
    <a:masterClrMapping/>
  </p:clrMapOvr>
  <p:transition/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5266631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8576" y="1506539"/>
            <a:ext cx="6106509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divis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576" y="4094922"/>
            <a:ext cx="6106509" cy="1988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7CCD93E8-DC2B-2D48-BE54-9F88E3064E58}"/>
              </a:ext>
            </a:extLst>
          </p:cNvPr>
          <p:cNvSpPr/>
          <p:nvPr/>
        </p:nvSpPr>
        <p:spPr>
          <a:xfrm>
            <a:off x="0" y="380"/>
            <a:ext cx="5239314" cy="6857619"/>
          </a:xfrm>
          <a:custGeom>
            <a:avLst/>
            <a:gdLst>
              <a:gd name="connsiteX0" fmla="*/ 1617403 w 5239314"/>
              <a:gd name="connsiteY0" fmla="*/ 6857619 h 6857619"/>
              <a:gd name="connsiteX1" fmla="*/ 0 w 5239314"/>
              <a:gd name="connsiteY1" fmla="*/ 6857619 h 6857619"/>
              <a:gd name="connsiteX2" fmla="*/ 0 w 5239314"/>
              <a:gd name="connsiteY2" fmla="*/ 0 h 6857619"/>
              <a:gd name="connsiteX3" fmla="*/ 5239314 w 5239314"/>
              <a:gd name="connsiteY3" fmla="*/ 0 h 6857619"/>
              <a:gd name="connsiteX4" fmla="*/ 1617403 w 5239314"/>
              <a:gd name="connsiteY4" fmla="*/ 6857619 h 685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9314" h="6857619">
                <a:moveTo>
                  <a:pt x="1617403" y="6857619"/>
                </a:moveTo>
                <a:lnTo>
                  <a:pt x="0" y="6857619"/>
                </a:lnTo>
                <a:lnTo>
                  <a:pt x="0" y="0"/>
                </a:lnTo>
                <a:lnTo>
                  <a:pt x="5239314" y="0"/>
                </a:lnTo>
                <a:lnTo>
                  <a:pt x="1617403" y="6857619"/>
                </a:lnTo>
                <a:close/>
              </a:path>
            </a:pathLst>
          </a:custGeom>
          <a:solidFill>
            <a:srgbClr val="009BDA"/>
          </a:solidFill>
          <a:ln w="126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2E0B399C-A9E8-AE40-91CB-2EE1E55E4660}"/>
              </a:ext>
            </a:extLst>
          </p:cNvPr>
          <p:cNvSpPr/>
          <p:nvPr/>
        </p:nvSpPr>
        <p:spPr>
          <a:xfrm>
            <a:off x="805404" y="0"/>
            <a:ext cx="4438981" cy="6858000"/>
          </a:xfrm>
          <a:custGeom>
            <a:avLst/>
            <a:gdLst>
              <a:gd name="connsiteX0" fmla="*/ 817070 w 4438981"/>
              <a:gd name="connsiteY0" fmla="*/ 6858000 h 6858000"/>
              <a:gd name="connsiteX1" fmla="*/ 0 w 4438981"/>
              <a:gd name="connsiteY1" fmla="*/ 6858000 h 6858000"/>
              <a:gd name="connsiteX2" fmla="*/ 3621912 w 4438981"/>
              <a:gd name="connsiteY2" fmla="*/ 0 h 6858000"/>
              <a:gd name="connsiteX3" fmla="*/ 4438981 w 4438981"/>
              <a:gd name="connsiteY3" fmla="*/ 0 h 6858000"/>
              <a:gd name="connsiteX4" fmla="*/ 817070 w 4438981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8981" h="6858000">
                <a:moveTo>
                  <a:pt x="817070" y="6858000"/>
                </a:moveTo>
                <a:lnTo>
                  <a:pt x="0" y="6858000"/>
                </a:lnTo>
                <a:lnTo>
                  <a:pt x="3621912" y="0"/>
                </a:lnTo>
                <a:lnTo>
                  <a:pt x="4438981" y="0"/>
                </a:lnTo>
                <a:lnTo>
                  <a:pt x="817070" y="6858000"/>
                </a:lnTo>
                <a:close/>
              </a:path>
            </a:pathLst>
          </a:custGeom>
          <a:gradFill>
            <a:gsLst>
              <a:gs pos="32000">
                <a:schemeClr val="tx2"/>
              </a:gs>
              <a:gs pos="100000">
                <a:schemeClr val="bg2"/>
              </a:gs>
            </a:gsLst>
            <a:lin ang="0" scaled="1"/>
          </a:gra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222709604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0848946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8576" y="1506539"/>
            <a:ext cx="6106509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divis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8576" y="4094922"/>
            <a:ext cx="6106509" cy="1988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9" name="Freeform 8">
            <a:extLst>
              <a:ext uri="{FF2B5EF4-FFF2-40B4-BE49-F238E27FC236}">
                <a16:creationId xmlns:a16="http://schemas.microsoft.com/office/drawing/2014/main" id="{C71BE15A-99F7-524D-A72D-D6A70C75E83F}"/>
              </a:ext>
            </a:extLst>
          </p:cNvPr>
          <p:cNvSpPr/>
          <p:nvPr/>
        </p:nvSpPr>
        <p:spPr>
          <a:xfrm>
            <a:off x="0" y="380"/>
            <a:ext cx="5239316" cy="6857619"/>
          </a:xfrm>
          <a:custGeom>
            <a:avLst/>
            <a:gdLst>
              <a:gd name="connsiteX0" fmla="*/ 1617403 w 5239316"/>
              <a:gd name="connsiteY0" fmla="*/ 6857619 h 6857619"/>
              <a:gd name="connsiteX1" fmla="*/ 0 w 5239316"/>
              <a:gd name="connsiteY1" fmla="*/ 6857619 h 6857619"/>
              <a:gd name="connsiteX2" fmla="*/ 0 w 5239316"/>
              <a:gd name="connsiteY2" fmla="*/ 0 h 6857619"/>
              <a:gd name="connsiteX3" fmla="*/ 5239316 w 5239316"/>
              <a:gd name="connsiteY3" fmla="*/ 0 h 6857619"/>
              <a:gd name="connsiteX4" fmla="*/ 1617403 w 5239316"/>
              <a:gd name="connsiteY4" fmla="*/ 6857619 h 685761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5239316" h="6857619">
                <a:moveTo>
                  <a:pt x="1617403" y="6857619"/>
                </a:moveTo>
                <a:lnTo>
                  <a:pt x="0" y="6857619"/>
                </a:lnTo>
                <a:lnTo>
                  <a:pt x="0" y="0"/>
                </a:lnTo>
                <a:lnTo>
                  <a:pt x="5239316" y="0"/>
                </a:lnTo>
                <a:lnTo>
                  <a:pt x="1617403" y="6857619"/>
                </a:lnTo>
                <a:close/>
              </a:path>
            </a:pathLst>
          </a:custGeom>
          <a:solidFill>
            <a:srgbClr val="001C71"/>
          </a:solidFill>
          <a:ln w="12677" cap="flat">
            <a:noFill/>
            <a:prstDash val="solid"/>
            <a:miter/>
          </a:ln>
        </p:spPr>
        <p:txBody>
          <a:bodyPr rtlCol="0" anchor="ctr"/>
          <a:lstStyle/>
          <a:p>
            <a:endParaRPr lang="en-US"/>
          </a:p>
        </p:txBody>
      </p:sp>
      <p:sp>
        <p:nvSpPr>
          <p:cNvPr id="10" name="Freeform 9">
            <a:extLst>
              <a:ext uri="{FF2B5EF4-FFF2-40B4-BE49-F238E27FC236}">
                <a16:creationId xmlns:a16="http://schemas.microsoft.com/office/drawing/2014/main" id="{1115D263-1E12-794F-B6EB-C71032DDD11A}"/>
              </a:ext>
            </a:extLst>
          </p:cNvPr>
          <p:cNvSpPr/>
          <p:nvPr/>
        </p:nvSpPr>
        <p:spPr>
          <a:xfrm>
            <a:off x="805404" y="0"/>
            <a:ext cx="4438982" cy="6858000"/>
          </a:xfrm>
          <a:custGeom>
            <a:avLst/>
            <a:gdLst>
              <a:gd name="connsiteX0" fmla="*/ 817070 w 4438982"/>
              <a:gd name="connsiteY0" fmla="*/ 6858000 h 6858000"/>
              <a:gd name="connsiteX1" fmla="*/ 0 w 4438982"/>
              <a:gd name="connsiteY1" fmla="*/ 6858000 h 6858000"/>
              <a:gd name="connsiteX2" fmla="*/ 3621913 w 4438982"/>
              <a:gd name="connsiteY2" fmla="*/ 0 h 6858000"/>
              <a:gd name="connsiteX3" fmla="*/ 4438983 w 4438982"/>
              <a:gd name="connsiteY3" fmla="*/ 0 h 6858000"/>
              <a:gd name="connsiteX4" fmla="*/ 817070 w 4438982"/>
              <a:gd name="connsiteY4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</a:cxnLst>
            <a:rect l="l" t="t" r="r" b="b"/>
            <a:pathLst>
              <a:path w="4438982" h="6858000">
                <a:moveTo>
                  <a:pt x="817070" y="6858000"/>
                </a:moveTo>
                <a:lnTo>
                  <a:pt x="0" y="6858000"/>
                </a:lnTo>
                <a:lnTo>
                  <a:pt x="3621913" y="0"/>
                </a:lnTo>
                <a:lnTo>
                  <a:pt x="4438983" y="0"/>
                </a:lnTo>
                <a:lnTo>
                  <a:pt x="817070" y="6858000"/>
                </a:lnTo>
                <a:close/>
              </a:path>
            </a:pathLst>
          </a:custGeom>
          <a:gradFill>
            <a:gsLst>
              <a:gs pos="0">
                <a:schemeClr val="tx2"/>
              </a:gs>
              <a:gs pos="72000">
                <a:schemeClr val="bg2"/>
              </a:gs>
            </a:gsLst>
            <a:lin ang="0" scaled="1"/>
          </a:gradFill>
          <a:ln w="12680" cap="flat">
            <a:noFill/>
            <a:prstDash val="solid"/>
            <a:miter/>
          </a:ln>
        </p:spPr>
        <p:txBody>
          <a:bodyPr rtlCol="0" anchor="ctr"/>
          <a:lstStyle/>
          <a:p>
            <a:pPr lvl="0"/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384649772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divider_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9A5C05A-5E4C-AB4C-8DF0-EC7C37E449CE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805486669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9A5C05A-5E4C-AB4C-8DF0-EC7C37E449C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Title 3">
            <a:extLst>
              <a:ext uri="{FF2B5EF4-FFF2-40B4-BE49-F238E27FC236}">
                <a16:creationId xmlns:a16="http://schemas.microsoft.com/office/drawing/2014/main" id="{A1D97C73-5661-D445-BE89-D5163DB91F7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604373" y="1506539"/>
            <a:ext cx="6106509" cy="2248736"/>
          </a:xfrm>
          <a:prstGeom prst="rect">
            <a:avLst/>
          </a:prstGeom>
        </p:spPr>
        <p:txBody>
          <a:bodyPr vert="horz" anchor="b" anchorCtr="0">
            <a:normAutofit/>
          </a:bodyPr>
          <a:lstStyle>
            <a:lvl1pPr>
              <a:lnSpc>
                <a:spcPct val="100000"/>
              </a:lnSpc>
              <a:defRPr sz="5000">
                <a:solidFill>
                  <a:schemeClr val="tx2"/>
                </a:solidFill>
              </a:defRPr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divisor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648A4DD2-39ED-4344-BCF5-DE1C375A8E2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4604373" y="4094922"/>
            <a:ext cx="6106509" cy="1988378"/>
          </a:xfrm>
          <a:prstGeom prst="rect">
            <a:avLst/>
          </a:prstGeom>
        </p:spPr>
        <p:txBody>
          <a:bodyPr>
            <a:normAutofit/>
          </a:bodyPr>
          <a:lstStyle>
            <a:lvl1pPr marL="0" indent="0">
              <a:buFont typeface="Wingdings" pitchFamily="2" charset="2"/>
              <a:buNone/>
              <a:defRPr sz="1800" b="1">
                <a:solidFill>
                  <a:schemeClr val="bg2"/>
                </a:solidFill>
              </a:defRPr>
            </a:lvl1pPr>
            <a:lvl2pPr marL="228583" indent="0">
              <a:buNone/>
              <a:defRPr>
                <a:solidFill>
                  <a:schemeClr val="bg1"/>
                </a:solidFill>
              </a:defRPr>
            </a:lvl2pPr>
            <a:lvl3pPr marL="457166" indent="0">
              <a:buNone/>
              <a:defRPr>
                <a:solidFill>
                  <a:schemeClr val="bg1"/>
                </a:solidFill>
              </a:defRPr>
            </a:lvl3pPr>
            <a:lvl4pPr marL="715963" indent="0">
              <a:buNone/>
              <a:defRPr>
                <a:solidFill>
                  <a:schemeClr val="bg1"/>
                </a:solidFill>
              </a:defRPr>
            </a:lvl4pPr>
            <a:lvl5pPr marL="955675" indent="0">
              <a:buNone/>
              <a:defRPr>
                <a:solidFill>
                  <a:schemeClr val="bg1"/>
                </a:solidFill>
              </a:defRPr>
            </a:lvl5pPr>
            <a:lvl6pPr>
              <a:defRPr>
                <a:solidFill>
                  <a:schemeClr val="bg1"/>
                </a:solidFill>
              </a:defRPr>
            </a:lvl6pPr>
            <a:lvl7pPr>
              <a:defRPr>
                <a:solidFill>
                  <a:schemeClr val="bg1"/>
                </a:solidFill>
              </a:defRPr>
            </a:lvl7pPr>
            <a:lvl8pPr>
              <a:defRPr>
                <a:solidFill>
                  <a:schemeClr val="bg1"/>
                </a:solidFill>
              </a:defRPr>
            </a:lvl8pPr>
            <a:lvl9pPr>
              <a:defRPr>
                <a:solidFill>
                  <a:schemeClr val="bg1"/>
                </a:solidFill>
              </a:defRPr>
            </a:lvl9pPr>
          </a:lstStyle>
          <a:p>
            <a:pPr lvl="0"/>
            <a:r>
              <a:rPr lang="en-US" dirty="0" err="1"/>
              <a:t>Subtítulo</a:t>
            </a:r>
            <a:r>
              <a:rPr lang="en-US" dirty="0"/>
              <a:t> </a:t>
            </a:r>
            <a:r>
              <a:rPr lang="en-US" dirty="0" err="1"/>
              <a:t>aquí</a:t>
            </a:r>
            <a:endParaRPr lang="en-US" dirty="0"/>
          </a:p>
        </p:txBody>
      </p:sp>
      <p:sp>
        <p:nvSpPr>
          <p:cNvPr id="17" name="Picture Placeholder 16">
            <a:extLst>
              <a:ext uri="{FF2B5EF4-FFF2-40B4-BE49-F238E27FC236}">
                <a16:creationId xmlns:a16="http://schemas.microsoft.com/office/drawing/2014/main" id="{33AB68B5-57E6-9D42-8719-48E45ED571AB}"/>
              </a:ext>
            </a:extLst>
          </p:cNvPr>
          <p:cNvSpPr>
            <a:spLocks noGrp="1"/>
          </p:cNvSpPr>
          <p:nvPr>
            <p:ph type="pic" sz="quarter" idx="13" hasCustomPrompt="1"/>
          </p:nvPr>
        </p:nvSpPr>
        <p:spPr>
          <a:xfrm>
            <a:off x="0" y="0"/>
            <a:ext cx="5251719" cy="6858000"/>
          </a:xfrm>
          <a:custGeom>
            <a:avLst/>
            <a:gdLst>
              <a:gd name="connsiteX0" fmla="*/ 0 w 5251719"/>
              <a:gd name="connsiteY0" fmla="*/ 0 h 6858000"/>
              <a:gd name="connsiteX1" fmla="*/ 5251719 w 5251719"/>
              <a:gd name="connsiteY1" fmla="*/ 0 h 6858000"/>
              <a:gd name="connsiteX2" fmla="*/ 1628775 w 5251719"/>
              <a:gd name="connsiteY2" fmla="*/ 6858000 h 6858000"/>
              <a:gd name="connsiteX3" fmla="*/ 0 w 5251719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5251719" h="6858000">
                <a:moveTo>
                  <a:pt x="0" y="0"/>
                </a:moveTo>
                <a:lnTo>
                  <a:pt x="5251719" y="0"/>
                </a:lnTo>
                <a:lnTo>
                  <a:pt x="1628775" y="6858000"/>
                </a:lnTo>
                <a:lnTo>
                  <a:pt x="0" y="6858000"/>
                </a:lnTo>
                <a:close/>
              </a:path>
            </a:pathLst>
          </a:custGeom>
          <a:solidFill>
            <a:schemeClr val="bg1">
              <a:lumMod val="95000"/>
            </a:schemeClr>
          </a:solidFill>
        </p:spPr>
        <p:txBody>
          <a:bodyPr vert="horz" wrap="square" lIns="0" tIns="0" rIns="0" bIns="0" rtlCol="0" anchor="t" anchorCtr="0">
            <a:noAutofit/>
          </a:bodyPr>
          <a:lstStyle>
            <a:lvl1pPr marL="285750" marR="0" indent="-28575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AutoNum type="arabicPeriod"/>
              <a:tabLst/>
              <a:defRPr lang="en-US" sz="1200">
                <a:solidFill>
                  <a:srgbClr val="FF0000"/>
                </a:solidFill>
              </a:defRPr>
            </a:lvl1pPr>
          </a:lstStyle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r>
              <a:rPr lang="en-US" dirty="0"/>
              <a:t>To use this slide:</a:t>
            </a:r>
            <a:br>
              <a:rPr lang="en-US" dirty="0"/>
            </a:br>
            <a:r>
              <a:rPr lang="en-US" dirty="0"/>
              <a:t>1. Go to Slide master and send overlay to back. </a:t>
            </a:r>
            <a:br>
              <a:rPr lang="en-US" dirty="0"/>
            </a:br>
            <a:r>
              <a:rPr lang="en-US" dirty="0"/>
              <a:t>2. Close Slide master.</a:t>
            </a:r>
            <a:br>
              <a:rPr lang="en-US" dirty="0"/>
            </a:br>
            <a:r>
              <a:rPr lang="en-US" dirty="0"/>
              <a:t>3. Click on icon to insert picture. </a:t>
            </a:r>
            <a:br>
              <a:rPr lang="en-US" dirty="0"/>
            </a:br>
            <a:r>
              <a:rPr lang="en-US" dirty="0"/>
              <a:t>4. Go to Slide master and send picture placeholder to back.</a:t>
            </a:r>
            <a:br>
              <a:rPr lang="en-US" dirty="0"/>
            </a:br>
            <a:r>
              <a:rPr lang="en-US" dirty="0"/>
              <a:t>6. Close Slide master.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br>
              <a:rPr lang="en-US" dirty="0"/>
            </a:b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endParaRPr lang="en-US" dirty="0"/>
          </a:p>
          <a:p>
            <a:pPr marL="0" marR="0" lvl="0" indent="0" algn="l" defTabSz="457155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>
                <a:schemeClr val="accent2"/>
              </a:buClr>
              <a:buSzPct val="120000"/>
              <a:buFontTx/>
              <a:buNone/>
              <a:tabLst/>
              <a:defRPr/>
            </a:pPr>
            <a:endParaRPr lang="en-US" dirty="0"/>
          </a:p>
          <a:p>
            <a:pPr lvl="0">
              <a:lnSpc>
                <a:spcPct val="100000"/>
              </a:lnSpc>
            </a:pPr>
            <a:endParaRPr lang="en-US" dirty="0"/>
          </a:p>
        </p:txBody>
      </p:sp>
      <p:sp>
        <p:nvSpPr>
          <p:cNvPr id="22" name="Text Placeholder 21">
            <a:extLst>
              <a:ext uri="{FF2B5EF4-FFF2-40B4-BE49-F238E27FC236}">
                <a16:creationId xmlns:a16="http://schemas.microsoft.com/office/drawing/2014/main" id="{7BF77CF3-11B7-C142-B812-0FBC9025429C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832104" y="0"/>
            <a:ext cx="4421373" cy="6858000"/>
          </a:xfrm>
          <a:custGeom>
            <a:avLst/>
            <a:gdLst>
              <a:gd name="connsiteX0" fmla="*/ 3617360 w 4421373"/>
              <a:gd name="connsiteY0" fmla="*/ 0 h 6858000"/>
              <a:gd name="connsiteX1" fmla="*/ 4421373 w 4421373"/>
              <a:gd name="connsiteY1" fmla="*/ 0 h 6858000"/>
              <a:gd name="connsiteX2" fmla="*/ 804013 w 4421373"/>
              <a:gd name="connsiteY2" fmla="*/ 6858000 h 6858000"/>
              <a:gd name="connsiteX3" fmla="*/ 0 w 4421373"/>
              <a:gd name="connsiteY3" fmla="*/ 685800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</a:cxnLst>
            <a:rect l="l" t="t" r="r" b="b"/>
            <a:pathLst>
              <a:path w="4421373" h="6858000">
                <a:moveTo>
                  <a:pt x="3617360" y="0"/>
                </a:moveTo>
                <a:lnTo>
                  <a:pt x="4421373" y="0"/>
                </a:lnTo>
                <a:lnTo>
                  <a:pt x="804013" y="6858000"/>
                </a:lnTo>
                <a:lnTo>
                  <a:pt x="0" y="6858000"/>
                </a:lnTo>
                <a:close/>
              </a:path>
            </a:pathLst>
          </a:custGeom>
          <a:gradFill>
            <a:gsLst>
              <a:gs pos="50000">
                <a:schemeClr val="bg2"/>
              </a:gs>
              <a:gs pos="100000">
                <a:schemeClr val="bg2">
                  <a:alpha val="35000"/>
                </a:schemeClr>
              </a:gs>
            </a:gsLst>
            <a:lin ang="0" scaled="1"/>
          </a:gradFill>
        </p:spPr>
        <p:txBody>
          <a:bodyPr vert="vert270" wrap="square" lIns="274320" tIns="0" rIns="0" bIns="0" rtlCol="0" anchor="t">
            <a:noAutofit/>
          </a:bodyPr>
          <a:lstStyle>
            <a:lvl1pPr>
              <a:defRPr lang="en-US" sz="800" dirty="0" smtClean="0">
                <a:solidFill>
                  <a:srgbClr val="99D7F0"/>
                </a:solidFill>
              </a:defRPr>
            </a:lvl1pPr>
          </a:lstStyle>
          <a:p>
            <a:pPr lvl="0"/>
            <a:r>
              <a:rPr lang="en-US" dirty="0"/>
              <a:t>OVERLAY</a:t>
            </a:r>
          </a:p>
        </p:txBody>
      </p:sp>
    </p:spTree>
    <p:extLst>
      <p:ext uri="{BB962C8B-B14F-4D97-AF65-F5344CB8AC3E}">
        <p14:creationId xmlns:p14="http://schemas.microsoft.com/office/powerpoint/2010/main" val="3319799739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agend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6FE1437E-F5BA-D941-A988-D166FC833665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27763447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6FE1437E-F5BA-D941-A988-D166FC83366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Box 1">
            <a:extLst>
              <a:ext uri="{FF2B5EF4-FFF2-40B4-BE49-F238E27FC236}">
                <a16:creationId xmlns:a16="http://schemas.microsoft.com/office/drawing/2014/main" id="{44CCDAC1-FF0C-6C45-9EFE-16B81E076C06}"/>
              </a:ext>
            </a:extLst>
          </p:cNvPr>
          <p:cNvSpPr txBox="1"/>
          <p:nvPr/>
        </p:nvSpPr>
        <p:spPr>
          <a:xfrm>
            <a:off x="11043961" y="24906"/>
            <a:ext cx="184731" cy="3693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endParaRPr lang="en-US" sz="1800" dirty="0"/>
          </a:p>
        </p:txBody>
      </p:sp>
      <p:sp>
        <p:nvSpPr>
          <p:cNvPr id="8" name="Title 7">
            <a:extLst>
              <a:ext uri="{FF2B5EF4-FFF2-40B4-BE49-F238E27FC236}">
                <a16:creationId xmlns:a16="http://schemas.microsoft.com/office/drawing/2014/main" id="{F4F861AD-B738-204D-962D-1D7949B97398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82600" y="250826"/>
            <a:ext cx="3254174" cy="3423913"/>
          </a:xfrm>
          <a:prstGeom prst="rect">
            <a:avLst/>
          </a:prstGeom>
        </p:spPr>
        <p:txBody>
          <a:bodyPr vert="horz" rIns="0" anchor="t"/>
          <a:lstStyle>
            <a:lvl1pPr>
              <a:defRPr/>
            </a:lvl1pPr>
          </a:lstStyle>
          <a:p>
            <a:r>
              <a:rPr lang="en-US" dirty="0" err="1"/>
              <a:t>Clic</a:t>
            </a:r>
            <a:r>
              <a:rPr lang="en-US" dirty="0"/>
              <a:t> para </a:t>
            </a:r>
            <a:r>
              <a:rPr lang="en-US" dirty="0" err="1"/>
              <a:t>añadir</a:t>
            </a:r>
            <a:r>
              <a:rPr lang="en-US" dirty="0"/>
              <a:t> toc / agenda</a:t>
            </a:r>
          </a:p>
        </p:txBody>
      </p:sp>
      <p:sp>
        <p:nvSpPr>
          <p:cNvPr id="9" name="Content Placeholder 8">
            <a:extLst>
              <a:ext uri="{FF2B5EF4-FFF2-40B4-BE49-F238E27FC236}">
                <a16:creationId xmlns:a16="http://schemas.microsoft.com/office/drawing/2014/main" id="{253D3EA5-6074-47D1-886B-4CFE1404AA4A}"/>
              </a:ext>
            </a:extLst>
          </p:cNvPr>
          <p:cNvSpPr>
            <a:spLocks noGrp="1"/>
          </p:cNvSpPr>
          <p:nvPr>
            <p:ph sz="quarter" idx="14"/>
          </p:nvPr>
        </p:nvSpPr>
        <p:spPr>
          <a:xfrm>
            <a:off x="4217988" y="250825"/>
            <a:ext cx="7367587" cy="5727700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0" name="Footer Placeholder 9">
            <a:extLst>
              <a:ext uri="{FF2B5EF4-FFF2-40B4-BE49-F238E27FC236}">
                <a16:creationId xmlns:a16="http://schemas.microsoft.com/office/drawing/2014/main" id="{16A16296-949D-4DB3-99E9-5BFC747696D7}"/>
              </a:ext>
            </a:extLst>
          </p:cNvPr>
          <p:cNvSpPr>
            <a:spLocks noGrp="1"/>
          </p:cNvSpPr>
          <p:nvPr>
            <p:ph type="ftr" sz="quarter" idx="15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F3DDCF2-ABCA-4BF3-9765-CF3D589819A6}"/>
              </a:ext>
            </a:extLst>
          </p:cNvPr>
          <p:cNvSpPr>
            <a:spLocks noGrp="1"/>
          </p:cNvSpPr>
          <p:nvPr>
            <p:ph type="sldNum" sz="quarter" idx="16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909541286"/>
      </p:ext>
    </p:extLst>
  </p:cSld>
  <p:clrMapOvr>
    <a:masterClrMapping/>
  </p:clrMapOvr>
  <p:transition/>
  <p:extLst>
    <p:ext uri="{DCECCB84-F9BA-43D5-87BE-67443E8EF086}">
      <p15:sldGuideLst xmlns:p15="http://schemas.microsoft.com/office/powerpoint/2012/main"/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1col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2293842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7D1FE246-A8E2-F94F-9529-1C9A6AEA5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Content Placeholder 9">
            <a:extLst>
              <a:ext uri="{FF2B5EF4-FFF2-40B4-BE49-F238E27FC236}">
                <a16:creationId xmlns:a16="http://schemas.microsoft.com/office/drawing/2014/main" id="{5486E0DA-68C8-4D78-BD7D-FACB9BAD3F4A}"/>
              </a:ext>
            </a:extLst>
          </p:cNvPr>
          <p:cNvSpPr>
            <a:spLocks noGrp="1"/>
          </p:cNvSpPr>
          <p:nvPr>
            <p:ph sz="quarter" idx="16" hasCustomPrompt="1"/>
          </p:nvPr>
        </p:nvSpPr>
        <p:spPr>
          <a:xfrm>
            <a:off x="482601" y="1181819"/>
            <a:ext cx="10983338" cy="5004772"/>
          </a:xfrm>
          <a:prstGeom prst="rect">
            <a:avLst/>
          </a:prstGeom>
        </p:spPr>
        <p:txBody>
          <a:bodyPr/>
          <a:lstStyle>
            <a:lvl2pPr marL="457200" indent="-228600">
              <a:defRPr/>
            </a:lvl2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gundo </a:t>
            </a:r>
            <a:r>
              <a:rPr lang="en-US" dirty="0" err="1"/>
              <a:t>nivel</a:t>
            </a:r>
            <a:endParaRPr lang="en-US" dirty="0"/>
          </a:p>
          <a:p>
            <a:pPr lvl="2"/>
            <a:r>
              <a:rPr lang="en-US" dirty="0" err="1"/>
              <a:t>Tercer</a:t>
            </a:r>
            <a:r>
              <a:rPr lang="en-US" dirty="0"/>
              <a:t> </a:t>
            </a:r>
            <a:r>
              <a:rPr lang="en-US" dirty="0" err="1"/>
              <a:t>nivel</a:t>
            </a:r>
            <a:endParaRPr lang="en-US" dirty="0"/>
          </a:p>
          <a:p>
            <a:pPr lvl="3"/>
            <a:r>
              <a:rPr lang="en-US" dirty="0"/>
              <a:t>Cuarto </a:t>
            </a:r>
            <a:r>
              <a:rPr lang="en-US" dirty="0" err="1"/>
              <a:t>nivel</a:t>
            </a:r>
            <a:endParaRPr lang="en-US" dirty="0"/>
          </a:p>
          <a:p>
            <a:pPr lvl="4"/>
            <a:r>
              <a:rPr lang="en-US" dirty="0"/>
              <a:t>Quinto </a:t>
            </a:r>
            <a:r>
              <a:rPr lang="en-US" dirty="0" err="1"/>
              <a:t>nivel</a:t>
            </a:r>
            <a:endParaRPr lang="en-US" dirty="0"/>
          </a:p>
        </p:txBody>
      </p:sp>
      <p:sp>
        <p:nvSpPr>
          <p:cNvPr id="6" name="Footer Placeholder 5">
            <a:extLst>
              <a:ext uri="{FF2B5EF4-FFF2-40B4-BE49-F238E27FC236}">
                <a16:creationId xmlns:a16="http://schemas.microsoft.com/office/drawing/2014/main" id="{7574E80A-265F-42A1-A8BD-2F59D41DF4DD}"/>
              </a:ext>
            </a:extLst>
          </p:cNvPr>
          <p:cNvSpPr>
            <a:spLocks noGrp="1"/>
          </p:cNvSpPr>
          <p:nvPr>
            <p:ph type="ftr" sz="quarter" idx="17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7" name="Slide Number Placeholder 6">
            <a:extLst>
              <a:ext uri="{FF2B5EF4-FFF2-40B4-BE49-F238E27FC236}">
                <a16:creationId xmlns:a16="http://schemas.microsoft.com/office/drawing/2014/main" id="{46351C49-ADF0-466B-85F4-700AC8250F44}"/>
              </a:ext>
            </a:extLst>
          </p:cNvPr>
          <p:cNvSpPr>
            <a:spLocks noGrp="1"/>
          </p:cNvSpPr>
          <p:nvPr>
            <p:ph type="sldNum" sz="quarter" idx="18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1760846807"/>
      </p:ext>
    </p:extLst>
  </p:cSld>
  <p:clrMapOvr>
    <a:masterClrMapping/>
  </p:clrMapOvr>
  <p:transition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ontent_1col_kicker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C2377EB1-1285-6648-90ED-1B84FD1BD20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61112881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C2377EB1-1285-6648-90ED-1B84FD1BD20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Title Placeholder 3">
            <a:extLst>
              <a:ext uri="{FF2B5EF4-FFF2-40B4-BE49-F238E27FC236}">
                <a16:creationId xmlns:a16="http://schemas.microsoft.com/office/drawing/2014/main" id="{7D1FE246-A8E2-F94F-9529-1C9A6AEA5B3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0" name="Text Placeholder 3">
            <a:extLst>
              <a:ext uri="{FF2B5EF4-FFF2-40B4-BE49-F238E27FC236}">
                <a16:creationId xmlns:a16="http://schemas.microsoft.com/office/drawing/2014/main" id="{C208AA04-99B7-2849-96B7-4BEA00359C14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482599" y="5484687"/>
            <a:ext cx="11216637" cy="860695"/>
          </a:xfrm>
          <a:prstGeom prst="rect">
            <a:avLst/>
          </a:prstGeom>
        </p:spPr>
        <p:txBody>
          <a:bodyPr/>
          <a:lstStyle>
            <a:lvl1pPr marL="0" indent="0" algn="ctr">
              <a:spcBef>
                <a:spcPts val="0"/>
              </a:spcBef>
              <a:buFontTx/>
              <a:buNone/>
              <a:defRPr b="1" i="0">
                <a:solidFill>
                  <a:schemeClr val="accent2"/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pPr algn="ctr"/>
            <a:r>
              <a:rPr lang="es-ES" sz="1600" dirty="0"/>
              <a:t>Ejemplo de texto de impulso que puede extenderse a dos líneas si es necesario</a:t>
            </a:r>
            <a:endParaRPr lang="en-US" sz="1600" b="1" dirty="0">
              <a:solidFill>
                <a:schemeClr val="accent2"/>
              </a:solidFill>
              <a:cs typeface="Calibri Light" panose="020F0302020204030204" pitchFamily="34" charset="0"/>
            </a:endParaRPr>
          </a:p>
        </p:txBody>
      </p:sp>
      <p:sp>
        <p:nvSpPr>
          <p:cNvPr id="7" name="Content Placeholder 6">
            <a:extLst>
              <a:ext uri="{FF2B5EF4-FFF2-40B4-BE49-F238E27FC236}">
                <a16:creationId xmlns:a16="http://schemas.microsoft.com/office/drawing/2014/main" id="{5F09BC25-4F6B-4243-81B5-FEE398B09FAB}"/>
              </a:ext>
            </a:extLst>
          </p:cNvPr>
          <p:cNvSpPr>
            <a:spLocks noGrp="1"/>
          </p:cNvSpPr>
          <p:nvPr>
            <p:ph sz="quarter" idx="17"/>
          </p:nvPr>
        </p:nvSpPr>
        <p:spPr>
          <a:xfrm>
            <a:off x="482600" y="1181820"/>
            <a:ext cx="11217275" cy="4114800"/>
          </a:xfrm>
          <a:prstGeom prst="rect">
            <a:avLst/>
          </a:prstGeom>
        </p:spPr>
        <p:txBody>
          <a:bodyPr/>
          <a:lstStyle>
            <a:lvl2pPr marL="457200" indent="-223838">
              <a:defRPr/>
            </a:lvl2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Footer Placeholder 8">
            <a:extLst>
              <a:ext uri="{FF2B5EF4-FFF2-40B4-BE49-F238E27FC236}">
                <a16:creationId xmlns:a16="http://schemas.microsoft.com/office/drawing/2014/main" id="{3C7166B4-E617-4DEE-A099-5A9B3374ABAD}"/>
              </a:ext>
            </a:extLst>
          </p:cNvPr>
          <p:cNvSpPr>
            <a:spLocks noGrp="1"/>
          </p:cNvSpPr>
          <p:nvPr>
            <p:ph type="ftr" sz="quarter" idx="18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13" name="Slide Number Placeholder 12">
            <a:extLst>
              <a:ext uri="{FF2B5EF4-FFF2-40B4-BE49-F238E27FC236}">
                <a16:creationId xmlns:a16="http://schemas.microsoft.com/office/drawing/2014/main" id="{D6524DDC-4525-491E-A702-D2E9CA6DBA52}"/>
              </a:ext>
            </a:extLst>
          </p:cNvPr>
          <p:cNvSpPr>
            <a:spLocks noGrp="1"/>
          </p:cNvSpPr>
          <p:nvPr>
            <p:ph type="sldNum" sz="quarter" idx="19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863683924"/>
      </p:ext>
    </p:extLst>
  </p:cSld>
  <p:clrMapOvr>
    <a:masterClrMapping/>
  </p:clrMapOvr>
  <p:transition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ntent_header only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Object 2" hidden="1">
            <a:extLst>
              <a:ext uri="{FF2B5EF4-FFF2-40B4-BE49-F238E27FC236}">
                <a16:creationId xmlns:a16="http://schemas.microsoft.com/office/drawing/2014/main" id="{F59EBCF7-93E3-0040-BBFD-DE1EC25C6BAA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464961942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3" name="Object 2" hidden="1">
                        <a:extLst>
                          <a:ext uri="{FF2B5EF4-FFF2-40B4-BE49-F238E27FC236}">
                            <a16:creationId xmlns:a16="http://schemas.microsoft.com/office/drawing/2014/main" id="{F59EBCF7-93E3-0040-BBFD-DE1EC25C6BA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Title Placeholder 3">
            <a:extLst>
              <a:ext uri="{FF2B5EF4-FFF2-40B4-BE49-F238E27FC236}">
                <a16:creationId xmlns:a16="http://schemas.microsoft.com/office/drawing/2014/main" id="{18A38DD3-32B1-0749-AF60-DAA0FE6546F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Footer Placeholder 7">
            <a:extLst>
              <a:ext uri="{FF2B5EF4-FFF2-40B4-BE49-F238E27FC236}">
                <a16:creationId xmlns:a16="http://schemas.microsoft.com/office/drawing/2014/main" id="{BABC18F9-0179-47D8-BA04-BCAAEC1530BE}"/>
              </a:ext>
            </a:extLst>
          </p:cNvPr>
          <p:cNvSpPr>
            <a:spLocks noGrp="1"/>
          </p:cNvSpPr>
          <p:nvPr>
            <p:ph type="ftr" sz="quarter" idx="10"/>
          </p:nvPr>
        </p:nvSpPr>
        <p:spPr/>
        <p:txBody>
          <a:bodyPr/>
          <a:lstStyle/>
          <a:p>
            <a:endParaRPr lang="es-MX"/>
          </a:p>
        </p:txBody>
      </p:sp>
      <p:sp>
        <p:nvSpPr>
          <p:cNvPr id="9" name="Slide Number Placeholder 8">
            <a:extLst>
              <a:ext uri="{FF2B5EF4-FFF2-40B4-BE49-F238E27FC236}">
                <a16:creationId xmlns:a16="http://schemas.microsoft.com/office/drawing/2014/main" id="{DFC2737A-8B8F-49F1-90F4-420E0AF3EC6F}"/>
              </a:ext>
            </a:extLst>
          </p:cNvPr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</p:spTree>
    <p:extLst>
      <p:ext uri="{BB962C8B-B14F-4D97-AF65-F5344CB8AC3E}">
        <p14:creationId xmlns:p14="http://schemas.microsoft.com/office/powerpoint/2010/main" val="3635664902"/>
      </p:ext>
    </p:extLst>
  </p:cSld>
  <p:clrMapOvr>
    <a:masterClrMapping/>
  </p:clrMapOvr>
  <p:transition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image" Target="../media/image2.png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oleObject" Target="../embeddings/oleObject1.bin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theme" Target="../theme/theme1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ight Triangle 7">
            <a:extLst>
              <a:ext uri="{FF2B5EF4-FFF2-40B4-BE49-F238E27FC236}">
                <a16:creationId xmlns:a16="http://schemas.microsoft.com/office/drawing/2014/main" id="{5DB756DF-74FC-624D-A171-D9BE9D35151E}"/>
              </a:ext>
            </a:extLst>
          </p:cNvPr>
          <p:cNvSpPr/>
          <p:nvPr/>
        </p:nvSpPr>
        <p:spPr bwMode="auto">
          <a:xfrm rot="5400000">
            <a:off x="-419100" y="419100"/>
            <a:ext cx="1783080" cy="944880"/>
          </a:xfrm>
          <a:prstGeom prst="rtTriangle">
            <a:avLst/>
          </a:prstGeom>
          <a:gradFill>
            <a:gsLst>
              <a:gs pos="0">
                <a:srgbClr val="FAFDFD"/>
              </a:gs>
              <a:gs pos="90000">
                <a:srgbClr val="E4F1FA"/>
              </a:gs>
            </a:gsLst>
            <a:lin ang="5400000" scaled="1"/>
          </a:gradFill>
          <a:ln>
            <a:noFill/>
          </a:ln>
        </p:spPr>
        <p:txBody>
          <a:bodyPr wrap="none" lIns="82058" tIns="41029" rIns="82058" bIns="41029" rtlCol="0" anchor="ctr"/>
          <a:lstStyle/>
          <a:p>
            <a:pPr algn="ctr" defTabSz="914382"/>
            <a:endParaRPr lang="en-US" sz="1400">
              <a:solidFill>
                <a:srgbClr val="FFFFFF"/>
              </a:solidFill>
              <a:cs typeface="Arial" panose="020B0604020202020204" pitchFamily="34" charset="0"/>
            </a:endParaRPr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18049AC0-7554-9E4A-B393-600D29FC20DC}"/>
              </a:ext>
            </a:extLst>
          </p:cNvPr>
          <p:cNvGraphicFramePr>
            <a:graphicFrameLocks noChangeAspect="1"/>
          </p:cNvGraphicFramePr>
          <p:nvPr>
            <p:custDataLst>
              <p:tags r:id="rId23"/>
            </p:custDataLst>
            <p:extLst>
              <p:ext uri="{D42A27DB-BD31-4B8C-83A1-F6EECF244321}">
                <p14:modId xmlns:p14="http://schemas.microsoft.com/office/powerpoint/2010/main" val="1346907428"/>
              </p:ext>
            </p:extLst>
          </p:nvPr>
        </p:nvGraphicFramePr>
        <p:xfrm>
          <a:off x="2118" y="1588"/>
          <a:ext cx="1636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24" imgW="7772400" imgH="10058400" progId="TCLayout.ActiveDocument.1">
                  <p:embed/>
                </p:oleObj>
              </mc:Choice>
              <mc:Fallback>
                <p:oleObj name="think-cell Slide" r:id="rId24" imgW="7772400" imgH="1005840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18049AC0-7554-9E4A-B393-600D29FC20D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1636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Placeholder 3">
            <a:extLst>
              <a:ext uri="{FF2B5EF4-FFF2-40B4-BE49-F238E27FC236}">
                <a16:creationId xmlns:a16="http://schemas.microsoft.com/office/drawing/2014/main" id="{6B02B9A5-D473-514E-9896-CA6DFC64842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600" y="457200"/>
            <a:ext cx="7640956" cy="536553"/>
          </a:xfrm>
          <a:prstGeom prst="rect">
            <a:avLst/>
          </a:prstGeom>
        </p:spPr>
        <p:txBody>
          <a:bodyPr vert="horz" lIns="0" tIns="0" rIns="0" bIns="0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75163C91-CB83-4668-B448-C60379628F82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82600" y="6547093"/>
            <a:ext cx="4114800" cy="178798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l">
              <a:defRPr lang="en-US" sz="900" smtClean="0"/>
            </a:lvl1pPr>
          </a:lstStyle>
          <a:p>
            <a:endParaRPr lang="es-MX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9C71A777-C433-4B09-8695-FD14A6A8F38C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5631084" y="6543011"/>
            <a:ext cx="822960" cy="182880"/>
          </a:xfrm>
          <a:prstGeom prst="rect">
            <a:avLst/>
          </a:prstGeom>
        </p:spPr>
        <p:txBody>
          <a:bodyPr vert="horz" wrap="none" lIns="0" tIns="0" rIns="0" bIns="0" rtlCol="0" anchor="ctr">
            <a:noAutofit/>
          </a:bodyPr>
          <a:lstStyle>
            <a:lvl1pPr algn="ctr">
              <a:defRPr sz="900">
                <a:solidFill>
                  <a:schemeClr val="tx1"/>
                </a:solidFill>
              </a:defRPr>
            </a:lvl1pPr>
          </a:lstStyle>
          <a:p>
            <a:fld id="{82705BBF-972D-450D-9530-CF35AFC2A51B}" type="slidenum">
              <a:rPr lang="es-MX" smtClean="0"/>
              <a:t>‹#›</a:t>
            </a:fld>
            <a:endParaRPr lang="es-MX"/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81E5004-3307-4A96-8AB7-A960A001E775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482600" y="1190445"/>
            <a:ext cx="11119928" cy="4882551"/>
          </a:xfrm>
          <a:prstGeom prst="rect">
            <a:avLst/>
          </a:prstGeom>
        </p:spPr>
        <p:txBody>
          <a:bodyPr vert="horz" lIns="0" tIns="0" rIns="0" bIns="0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pic>
        <p:nvPicPr>
          <p:cNvPr id="12" name="Picture 11">
            <a:extLst>
              <a:ext uri="{FF2B5EF4-FFF2-40B4-BE49-F238E27FC236}">
                <a16:creationId xmlns:a16="http://schemas.microsoft.com/office/drawing/2014/main" id="{37BABB51-04B0-484C-91B6-9F00F57F5035}"/>
              </a:ext>
            </a:extLst>
          </p:cNvPr>
          <p:cNvPicPr>
            <a:picLocks noChangeAspect="1"/>
          </p:cNvPicPr>
          <p:nvPr/>
        </p:nvPicPr>
        <p:blipFill>
          <a:blip r:embed="rId26"/>
          <a:stretch>
            <a:fillRect/>
          </a:stretch>
        </p:blipFill>
        <p:spPr>
          <a:xfrm>
            <a:off x="10508413" y="6350634"/>
            <a:ext cx="1089551" cy="25254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828742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5" r:id="rId1"/>
    <p:sldLayoutId id="2147483746" r:id="rId2"/>
    <p:sldLayoutId id="2147483747" r:id="rId3"/>
    <p:sldLayoutId id="2147483748" r:id="rId4"/>
    <p:sldLayoutId id="2147483749" r:id="rId5"/>
    <p:sldLayoutId id="2147483750" r:id="rId6"/>
    <p:sldLayoutId id="2147483751" r:id="rId7"/>
    <p:sldLayoutId id="2147483752" r:id="rId8"/>
    <p:sldLayoutId id="2147483753" r:id="rId9"/>
    <p:sldLayoutId id="2147483754" r:id="rId10"/>
    <p:sldLayoutId id="2147483755" r:id="rId11"/>
    <p:sldLayoutId id="2147483756" r:id="rId12"/>
    <p:sldLayoutId id="2147483757" r:id="rId13"/>
    <p:sldLayoutId id="2147483758" r:id="rId14"/>
    <p:sldLayoutId id="2147483759" r:id="rId15"/>
    <p:sldLayoutId id="2147483760" r:id="rId16"/>
    <p:sldLayoutId id="2147483761" r:id="rId17"/>
    <p:sldLayoutId id="2147483762" r:id="rId18"/>
    <p:sldLayoutId id="2147483763" r:id="rId19"/>
    <p:sldLayoutId id="2147483764" r:id="rId20"/>
    <p:sldLayoutId id="2147483765" r:id="rId21"/>
  </p:sldLayoutIdLst>
  <p:transition/>
  <p:txStyles>
    <p:titleStyle>
      <a:lvl1pPr algn="l" defTabSz="457155" rtl="0" eaLnBrk="1" latinLnBrk="0" hangingPunct="1">
        <a:lnSpc>
          <a:spcPct val="100000"/>
        </a:lnSpc>
        <a:spcBef>
          <a:spcPct val="0"/>
        </a:spcBef>
        <a:buNone/>
        <a:defRPr sz="3000" b="0" i="0" kern="1200" cap="all" baseline="0">
          <a:solidFill>
            <a:schemeClr val="tx2"/>
          </a:solidFill>
          <a:latin typeface="+mj-lt"/>
          <a:ea typeface="+mj-ea"/>
          <a:cs typeface="Calibri Light"/>
        </a:defRPr>
      </a:lvl1pPr>
    </p:titleStyle>
    <p:bodyStyle>
      <a:lvl1pPr marL="228600" indent="-231775" algn="l" defTabSz="457155" rtl="0" eaLnBrk="1" latinLnBrk="0" hangingPunct="1">
        <a:lnSpc>
          <a:spcPct val="100000"/>
        </a:lnSpc>
        <a:spcBef>
          <a:spcPts val="1200"/>
        </a:spcBef>
        <a:spcAft>
          <a:spcPts val="0"/>
        </a:spcAft>
        <a:buClr>
          <a:schemeClr val="accent2"/>
        </a:buClr>
        <a:buSzPct val="120000"/>
        <a:buFont typeface="Arial" panose="020B0604020202020204" pitchFamily="34" charset="0"/>
        <a:buChar char="•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1pPr>
      <a:lvl2pPr marL="457200" indent="-223838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accent2"/>
        </a:buClr>
        <a:buSzPct val="120000"/>
        <a:buFont typeface="Arial" panose="020B0604020202020204" pitchFamily="34" charset="0"/>
        <a:buChar char="−"/>
        <a:tabLst/>
        <a:defRPr sz="1800" b="0" i="0" kern="1200">
          <a:solidFill>
            <a:schemeClr val="tx1"/>
          </a:solidFill>
          <a:latin typeface="+mn-lt"/>
          <a:ea typeface="+mn-ea"/>
          <a:cs typeface="Calibri Light"/>
        </a:defRPr>
      </a:lvl2pPr>
      <a:lvl3pPr marL="685800" indent="-228600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3pPr>
      <a:lvl4pPr marL="914400" indent="-228600" algn="l" defTabSz="498429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−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4pPr>
      <a:lvl5pPr marL="1143000" indent="-228600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SzPct val="100000"/>
        <a:buFont typeface="Arial" panose="020B0604020202020204" pitchFamily="34" charset="0"/>
        <a:buChar char="•"/>
        <a:tabLst/>
        <a:defRPr lang="en-US" sz="1800" b="0" i="0" kern="1200" dirty="0" smtClean="0">
          <a:solidFill>
            <a:schemeClr val="tx1"/>
          </a:solidFill>
          <a:latin typeface="+mn-lt"/>
          <a:ea typeface="+mn-ea"/>
          <a:cs typeface="+mn-cs"/>
        </a:defRPr>
      </a:lvl5pPr>
      <a:lvl6pPr marL="1143000" indent="-228600" algn="l" defTabSz="457155" rtl="0" eaLnBrk="1" latinLnBrk="0" hangingPunct="1">
        <a:lnSpc>
          <a:spcPct val="100000"/>
        </a:lnSpc>
        <a:spcBef>
          <a:spcPts val="600"/>
        </a:spcBef>
        <a:spcAft>
          <a:spcPts val="0"/>
        </a:spcAft>
        <a:buClr>
          <a:schemeClr val="bg2"/>
        </a:buClr>
        <a:buFont typeface="Arial" panose="020B0604020202020204" pitchFamily="34" charset="0"/>
        <a:buChar char="•"/>
        <a:defRPr lang="en-US" sz="1800" b="0" kern="1200" dirty="0" smtClean="0">
          <a:solidFill>
            <a:schemeClr val="tx1"/>
          </a:solidFill>
          <a:latin typeface="+mn-lt"/>
          <a:ea typeface="+mn-ea"/>
          <a:cs typeface="+mn-cs"/>
        </a:defRPr>
      </a:lvl6pPr>
      <a:lvl7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7pPr>
      <a:lvl8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8pPr>
      <a:lvl9pPr marL="685750" indent="-228578" algn="l" defTabSz="457155" rtl="0" eaLnBrk="1" latinLnBrk="0" hangingPunct="1">
        <a:spcBef>
          <a:spcPts val="0"/>
        </a:spcBef>
        <a:buFont typeface="Wingdings" pitchFamily="2" charset="2"/>
        <a:buChar char="§"/>
        <a:defRPr sz="1800" kern="1200">
          <a:solidFill>
            <a:schemeClr val="accent2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55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314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470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628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78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942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096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251" algn="l" defTabSz="457155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/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1.xml"/><Relationship Id="rId1" Type="http://schemas.openxmlformats.org/officeDocument/2006/relationships/tags" Target="../tags/tag22.xml"/><Relationship Id="rId6" Type="http://schemas.openxmlformats.org/officeDocument/2006/relationships/image" Target="../media/image30.png"/><Relationship Id="rId5" Type="http://schemas.openxmlformats.org/officeDocument/2006/relationships/hyperlink" Target="mailto:seguridad_corporativa@sempraglobal.com.mx" TargetMode="External"/><Relationship Id="rId4" Type="http://schemas.openxmlformats.org/officeDocument/2006/relationships/image" Target="../media/image29.emf"/></Relationships>
</file>

<file path=ppt/slides/_rels/slide11.xml.rels><?xml version="1.0" encoding="UTF-8" standalone="yes"?>
<Relationships xmlns="http://schemas.openxmlformats.org/package/2006/relationships"><Relationship Id="rId2" Type="http://schemas.openxmlformats.org/officeDocument/2006/relationships/hyperlink" Target="https://home.inai.org.mx/wp-content/documentos/GuiasTitulares/Gu%C3%ADa_Prevenir_RI.pdf" TargetMode="External"/><Relationship Id="rId1" Type="http://schemas.openxmlformats.org/officeDocument/2006/relationships/slideLayout" Target="../slideLayouts/slideLayout9.xml"/></Relationships>
</file>

<file path=ppt/slides/_rels/slide2.xml.rels><?xml version="1.0" encoding="UTF-8" standalone="yes"?>
<Relationships xmlns="http://schemas.openxmlformats.org/package/2006/relationships"><Relationship Id="rId2" Type="http://schemas.openxmlformats.org/officeDocument/2006/relationships/image" Target="../media/image20.png"/><Relationship Id="rId1" Type="http://schemas.openxmlformats.org/officeDocument/2006/relationships/slideLayout" Target="../slideLayouts/slideLayout9.xml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2.png"/><Relationship Id="rId2" Type="http://schemas.openxmlformats.org/officeDocument/2006/relationships/image" Target="../media/image21.jpeg"/><Relationship Id="rId1" Type="http://schemas.openxmlformats.org/officeDocument/2006/relationships/slideLayout" Target="../slideLayouts/slideLayout9.xml"/></Relationships>
</file>

<file path=ppt/slides/_rels/slide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3.png"/><Relationship Id="rId1" Type="http://schemas.openxmlformats.org/officeDocument/2006/relationships/slideLayout" Target="../slideLayouts/slideLayout9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25.jpg"/><Relationship Id="rId2" Type="http://schemas.openxmlformats.org/officeDocument/2006/relationships/image" Target="../media/image24.jpg"/><Relationship Id="rId1" Type="http://schemas.openxmlformats.org/officeDocument/2006/relationships/slideLayout" Target="../slideLayouts/slideLayout9.xml"/></Relationships>
</file>

<file path=ppt/slides/_rels/slide6.xml.rels><?xml version="1.0" encoding="UTF-8" standalone="yes"?>
<Relationships xmlns="http://schemas.openxmlformats.org/package/2006/relationships"><Relationship Id="rId2" Type="http://schemas.openxmlformats.org/officeDocument/2006/relationships/image" Target="../media/image26.png"/><Relationship Id="rId1" Type="http://schemas.openxmlformats.org/officeDocument/2006/relationships/slideLayout" Target="../slideLayouts/slideLayout9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20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18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28.png"/><Relationship Id="rId1" Type="http://schemas.openxmlformats.org/officeDocument/2006/relationships/slideLayout" Target="../slideLayouts/slideLayout9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3897E1A2-8BE6-F674-6F17-6A7EFC3FEE43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4000" b="1" dirty="0">
                <a:solidFill>
                  <a:srgbClr val="001C7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endaciones de Seguridad</a:t>
            </a:r>
            <a:br>
              <a:rPr lang="es-MX" sz="4000" b="1" dirty="0">
                <a:solidFill>
                  <a:srgbClr val="001C7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endParaRPr lang="es-MX" sz="4000" dirty="0">
              <a:solidFill>
                <a:srgbClr val="001C71"/>
              </a:solidFill>
            </a:endParaRP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C77113D3-B6DA-DC13-073B-649924250043}"/>
              </a:ext>
            </a:extLst>
          </p:cNvPr>
          <p:cNvSpPr>
            <a:spLocks noGrp="1"/>
          </p:cNvSpPr>
          <p:nvPr>
            <p:ph type="body" sz="quarter" idx="12"/>
          </p:nvPr>
        </p:nvSpPr>
        <p:spPr>
          <a:xfrm>
            <a:off x="482600" y="3429000"/>
            <a:ext cx="6400801" cy="1080124"/>
          </a:xfrm>
        </p:spPr>
        <p:txBody>
          <a:bodyPr/>
          <a:lstStyle/>
          <a:p>
            <a:r>
              <a:rPr lang="es-MX" sz="3200" dirty="0"/>
              <a:t>Robo de identidad</a:t>
            </a:r>
          </a:p>
          <a:p>
            <a:endParaRPr lang="es-MX" sz="4000" dirty="0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77C37F8-9E86-8963-3C30-4B1432C9824F}"/>
              </a:ext>
            </a:extLst>
          </p:cNvPr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r>
              <a:rPr lang="es-MX" dirty="0"/>
              <a:t>Septiembre 2023</a:t>
            </a:r>
          </a:p>
        </p:txBody>
      </p:sp>
    </p:spTree>
    <p:extLst>
      <p:ext uri="{BB962C8B-B14F-4D97-AF65-F5344CB8AC3E}">
        <p14:creationId xmlns:p14="http://schemas.microsoft.com/office/powerpoint/2010/main" val="500017064"/>
      </p:ext>
    </p:extLst>
  </p:cSld>
  <p:clrMapOvr>
    <a:masterClrMapping/>
  </p:clrMapOvr>
  <p:transition/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1" name="Object 10" hidden="1">
            <a:extLst>
              <a:ext uri="{FF2B5EF4-FFF2-40B4-BE49-F238E27FC236}">
                <a16:creationId xmlns:a16="http://schemas.microsoft.com/office/drawing/2014/main" id="{B6B43005-21D3-9F4D-82B9-73109CDDFCB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9" y="1588"/>
          <a:ext cx="122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7772400" imgH="10058400" progId="TCLayout.ActiveDocument.1">
                  <p:embed/>
                </p:oleObj>
              </mc:Choice>
              <mc:Fallback>
                <p:oleObj name="think-cell Slide" r:id="rId3" imgW="7772400" imgH="10058400" progId="TCLayout.ActiveDocument.1">
                  <p:embed/>
                  <p:pic>
                    <p:nvPicPr>
                      <p:cNvPr id="11" name="Object 10" hidden="1">
                        <a:extLst>
                          <a:ext uri="{FF2B5EF4-FFF2-40B4-BE49-F238E27FC236}">
                            <a16:creationId xmlns:a16="http://schemas.microsoft.com/office/drawing/2014/main" id="{B6B43005-21D3-9F4D-82B9-73109CDDFCB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25589" y="1588"/>
                        <a:ext cx="122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ext Placeholder 1">
            <a:extLst>
              <a:ext uri="{FF2B5EF4-FFF2-40B4-BE49-F238E27FC236}">
                <a16:creationId xmlns:a16="http://schemas.microsoft.com/office/drawing/2014/main" id="{F332B896-23B8-5048-69AA-D5D6E78D7610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658792" y="1895431"/>
            <a:ext cx="5825372" cy="2200983"/>
          </a:xfrm>
        </p:spPr>
        <p:txBody>
          <a:bodyPr>
            <a:normAutofit/>
          </a:bodyPr>
          <a:lstStyle/>
          <a:p>
            <a:pPr marL="233362" lvl="1" indent="0">
              <a:lnSpc>
                <a:spcPct val="120000"/>
              </a:lnSpc>
              <a:buNone/>
            </a:pPr>
            <a:r>
              <a:rPr lang="es-MX" sz="2000" dirty="0">
                <a:latin typeface="+mj-lt"/>
              </a:rPr>
              <a:t>Si llegas a sufrir algún incidente, </a:t>
            </a:r>
            <a:r>
              <a:rPr lang="es-MX" sz="2000" b="1" dirty="0">
                <a:latin typeface="+mj-lt"/>
              </a:rPr>
              <a:t>notifícalo. </a:t>
            </a:r>
          </a:p>
          <a:p>
            <a:pPr marL="233362" lvl="1" indent="0">
              <a:lnSpc>
                <a:spcPct val="120000"/>
              </a:lnSpc>
              <a:buNone/>
            </a:pPr>
            <a:r>
              <a:rPr lang="es-MX" sz="2000" b="1" dirty="0">
                <a:latin typeface="+mj-lt"/>
              </a:rPr>
              <a:t>Y si ves algo, di algo…</a:t>
            </a:r>
          </a:p>
          <a:p>
            <a:pPr marL="233362" lvl="1" indent="0">
              <a:lnSpc>
                <a:spcPct val="120000"/>
              </a:lnSpc>
              <a:buNone/>
            </a:pPr>
            <a:r>
              <a:rPr lang="es-MX" sz="2000" dirty="0">
                <a:latin typeface="+mj-lt"/>
              </a:rPr>
              <a:t>Tus reportes nos ayudaran a mantenerte a ti y</a:t>
            </a:r>
            <a:br>
              <a:rPr lang="es-MX" sz="2000" dirty="0">
                <a:latin typeface="+mj-lt"/>
              </a:rPr>
            </a:br>
            <a:r>
              <a:rPr lang="es-MX" sz="2000" dirty="0">
                <a:latin typeface="+mj-lt"/>
              </a:rPr>
              <a:t>al resto de los colaboradores protegidos.</a:t>
            </a:r>
          </a:p>
        </p:txBody>
      </p:sp>
      <p:sp>
        <p:nvSpPr>
          <p:cNvPr id="4" name="Title 3">
            <a:extLst>
              <a:ext uri="{FF2B5EF4-FFF2-40B4-BE49-F238E27FC236}">
                <a16:creationId xmlns:a16="http://schemas.microsoft.com/office/drawing/2014/main" id="{5A38E810-2026-7DCD-BDB0-7CA4C1955F4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80205" y="474595"/>
            <a:ext cx="8069890" cy="536553"/>
          </a:xfrm>
        </p:spPr>
        <p:txBody>
          <a:bodyPr/>
          <a:lstStyle/>
          <a:p>
            <a:r>
              <a:rPr lang="es-MX" sz="3200" b="1" dirty="0"/>
              <a:t>CONTACTO</a:t>
            </a:r>
            <a:endParaRPr lang="en-US" sz="3200" b="1" dirty="0"/>
          </a:p>
        </p:txBody>
      </p:sp>
      <p:graphicFrame>
        <p:nvGraphicFramePr>
          <p:cNvPr id="3" name="Table 2">
            <a:extLst>
              <a:ext uri="{FF2B5EF4-FFF2-40B4-BE49-F238E27FC236}">
                <a16:creationId xmlns:a16="http://schemas.microsoft.com/office/drawing/2014/main" id="{04838749-46C2-C0A9-4491-9022AA9A12BE}"/>
              </a:ext>
            </a:extLst>
          </p:cNvPr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096967535"/>
              </p:ext>
            </p:extLst>
          </p:nvPr>
        </p:nvGraphicFramePr>
        <p:xfrm>
          <a:off x="1889760" y="4231148"/>
          <a:ext cx="8412480" cy="1781036"/>
        </p:xfrm>
        <a:graphic>
          <a:graphicData uri="http://schemas.openxmlformats.org/drawingml/2006/table">
            <a:tbl>
              <a:tblPr firstRow="1" firstCol="1" bandRow="1">
                <a:tableStyleId>{5940675A-B579-460E-94D1-54222C63F5DA}</a:tableStyleId>
              </a:tblPr>
              <a:tblGrid>
                <a:gridCol w="2167038">
                  <a:extLst>
                    <a:ext uri="{9D8B030D-6E8A-4147-A177-3AD203B41FA5}">
                      <a16:colId xmlns:a16="http://schemas.microsoft.com/office/drawing/2014/main" val="3907276376"/>
                    </a:ext>
                  </a:extLst>
                </a:gridCol>
                <a:gridCol w="6245442">
                  <a:extLst>
                    <a:ext uri="{9D8B030D-6E8A-4147-A177-3AD203B41FA5}">
                      <a16:colId xmlns:a16="http://schemas.microsoft.com/office/drawing/2014/main" val="155744843"/>
                    </a:ext>
                  </a:extLst>
                </a:gridCol>
              </a:tblGrid>
              <a:tr h="312622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b="1" dirty="0">
                          <a:solidFill>
                            <a:schemeClr val="bg1"/>
                          </a:solidFill>
                          <a:effectLst/>
                        </a:rPr>
                        <a:t>Contacto a Centro de Control </a:t>
                      </a:r>
                    </a:p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b="1" dirty="0">
                          <a:solidFill>
                            <a:schemeClr val="bg1"/>
                          </a:solidFill>
                          <a:effectLst/>
                        </a:rPr>
                        <a:t>Sempra Infraestructura México</a:t>
                      </a:r>
                      <a:endParaRPr lang="en-US" sz="1200" b="0" dirty="0">
                        <a:solidFill>
                          <a:schemeClr val="bg1"/>
                        </a:solidFill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>
                    <a:solidFill>
                      <a:srgbClr val="001C71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4072728382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Lada sin costo (24 horas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(800) 890-3540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633886817"/>
                  </a:ext>
                </a:extLst>
              </a:tr>
              <a:tr h="27359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Celular (WhatsApp)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n-US" sz="1400" dirty="0">
                          <a:effectLst/>
                        </a:rPr>
                        <a:t>(55) 3223-2103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2682888773"/>
                  </a:ext>
                </a:extLst>
              </a:tr>
              <a:tr h="291050">
                <a:tc>
                  <a:txBody>
                    <a:bodyPr/>
                    <a:lstStyle/>
                    <a:p>
                      <a:pPr marL="0" marR="0" algn="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dirty="0">
                          <a:effectLst/>
                        </a:rPr>
                        <a:t>Correo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 anchor="ctr"/>
                </a:tc>
                <a:tc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ES" sz="1400" u="sng" dirty="0">
                          <a:effectLst/>
                          <a:hlinkClick r:id="rId5"/>
                        </a:rPr>
                        <a:t>seguridad_corporativa@sempraglobal.com.mx</a:t>
                      </a:r>
                      <a:r>
                        <a:rPr lang="es-ES" sz="1400" u="sng" dirty="0">
                          <a:effectLst/>
                        </a:rPr>
                        <a:t> </a:t>
                      </a: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/>
                </a:tc>
                <a:extLst>
                  <a:ext uri="{0D108BD9-81ED-4DB2-BD59-A6C34878D82A}">
                    <a16:rowId xmlns:a16="http://schemas.microsoft.com/office/drawing/2014/main" val="36494932"/>
                  </a:ext>
                </a:extLst>
              </a:tr>
              <a:tr h="403627">
                <a:tc gridSpan="2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r>
                        <a:rPr lang="es-MX" sz="1400" kern="1200" noProof="0" dirty="0">
                          <a:solidFill>
                            <a:schemeClr val="tx1"/>
                          </a:solidFill>
                          <a:effectLst/>
                        </a:rPr>
                        <a:t>o con el Líder de Seguridad Patrimonial y Protección de tu región.</a:t>
                      </a:r>
                      <a:endParaRPr lang="es-MX" sz="1400" kern="1200" noProof="0" dirty="0">
                        <a:solidFill>
                          <a:schemeClr val="tx1"/>
                        </a:solidFill>
                        <a:effectLst/>
                        <a:latin typeface="+mn-lt"/>
                        <a:ea typeface="+mn-ea"/>
                        <a:cs typeface="+mn-cs"/>
                      </a:endParaRPr>
                    </a:p>
                  </a:txBody>
                  <a:tcPr marL="68580" marR="68580" marT="0" marB="0" anchor="ctr"/>
                </a:tc>
                <a:tc hMerge="1">
                  <a:txBody>
                    <a:bodyPr/>
                    <a:lstStyle/>
                    <a:p>
                      <a:pPr marL="0" marR="0" algn="ctr">
                        <a:lnSpc>
                          <a:spcPct val="105000"/>
                        </a:lnSpc>
                        <a:spcBef>
                          <a:spcPts val="0"/>
                        </a:spcBef>
                        <a:spcAft>
                          <a:spcPts val="800"/>
                        </a:spcAft>
                      </a:pPr>
                      <a:endParaRPr lang="en-US" sz="1200" dirty="0">
                        <a:effectLst/>
                        <a:latin typeface="Calibri" panose="020F0502020204030204" pitchFamily="34" charset="0"/>
                        <a:ea typeface="Calibri" panose="020F0502020204030204" pitchFamily="34" charset="0"/>
                      </a:endParaRPr>
                    </a:p>
                  </a:txBody>
                  <a:tcPr marL="68580" marR="68580" marT="0" marB="0">
                    <a:lnL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rgbClr val="FF6D00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702541541"/>
                  </a:ext>
                </a:extLst>
              </a:tr>
            </a:tbl>
          </a:graphicData>
        </a:graphic>
      </p:graphicFrame>
      <p:pic>
        <p:nvPicPr>
          <p:cNvPr id="7" name="Picture 6" descr="Cartoon a cartoon of a person holding a phone&#10;&#10;Description automatically generated">
            <a:extLst>
              <a:ext uri="{FF2B5EF4-FFF2-40B4-BE49-F238E27FC236}">
                <a16:creationId xmlns:a16="http://schemas.microsoft.com/office/drawing/2014/main" id="{93279A49-3E6F-6AE5-3FD2-C5B8072D2688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7484164" y="1011148"/>
            <a:ext cx="3220000" cy="3220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72906337"/>
      </p:ext>
    </p:extLst>
  </p:cSld>
  <p:clrMapOvr>
    <a:masterClrMapping/>
  </p:clrMapOvr>
  <p:transition/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E4F9945-19EF-7026-AEA5-F2A31B945DC9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62664" y="530352"/>
            <a:ext cx="11216637" cy="536553"/>
          </a:xfrm>
        </p:spPr>
        <p:txBody>
          <a:bodyPr/>
          <a:lstStyle/>
          <a:p>
            <a:r>
              <a:rPr lang="es-MX" sz="2800" b="1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ente</a:t>
            </a:r>
            <a:endParaRPr lang="es-MX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3AA9D85-657C-17EC-4B8F-E8A8A784CE3F}"/>
              </a:ext>
            </a:extLst>
          </p:cNvPr>
          <p:cNvSpPr txBox="1">
            <a:spLocks/>
          </p:cNvSpPr>
          <p:nvPr/>
        </p:nvSpPr>
        <p:spPr>
          <a:xfrm>
            <a:off x="662664" y="2216935"/>
            <a:ext cx="10596435" cy="1692612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742950" lvl="2" indent="-285750">
              <a:buFont typeface="Arial" panose="020B0604020202020204" pitchFamily="34" charset="0"/>
              <a:buChar char="•"/>
            </a:pPr>
            <a:endParaRPr lang="es-MX" dirty="0"/>
          </a:p>
          <a:p>
            <a:pPr marL="457200" lvl="2"/>
            <a:r>
              <a:rPr lang="es-MX" dirty="0"/>
              <a:t>INAI - Instituto Nacional de Transparencia, Acceso a la Información y Protección de Datos Personales </a:t>
            </a:r>
          </a:p>
          <a:p>
            <a:pPr marL="457200" lvl="2"/>
            <a:r>
              <a:rPr lang="es-MX" b="1" dirty="0"/>
              <a:t>Guía para prevenir el robo de identidad</a:t>
            </a:r>
          </a:p>
          <a:p>
            <a:pPr marL="457200" lvl="2"/>
            <a:endParaRPr lang="es-MX" dirty="0"/>
          </a:p>
          <a:p>
            <a:pPr marL="457200" lvl="2"/>
            <a:r>
              <a:rPr lang="es-MX" sz="1600" dirty="0">
                <a:latin typeface="Arial" panose="020B0604020202020204" pitchFamily="34" charset="0"/>
                <a:cs typeface="Arial" panose="020B0604020202020204" pitchFamily="34" charset="0"/>
                <a:hlinkClick r:id="rId2"/>
              </a:rPr>
              <a:t>https://home.inai.org.mx/wp-content/documentos/GuiasTitulares/Gu%C3%ADa_Prevenir_RI.pdf</a:t>
            </a:r>
            <a:r>
              <a:rPr lang="es-MX" sz="16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</p:txBody>
      </p:sp>
    </p:spTree>
    <p:extLst>
      <p:ext uri="{BB962C8B-B14F-4D97-AF65-F5344CB8AC3E}">
        <p14:creationId xmlns:p14="http://schemas.microsoft.com/office/powerpoint/2010/main" val="2384937273"/>
      </p:ext>
    </p:extLst>
  </p:cSld>
  <p:clrMapOvr>
    <a:masterClrMapping/>
  </p:clrMapOvr>
  <p:transition/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CBC7ABAE-6F50-98C8-AFFC-111520CDEF92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b="1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 de identidad</a:t>
            </a:r>
            <a:endParaRPr lang="es-MX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7E69BC80-F59B-973E-4521-7D401F0FB1BE}"/>
              </a:ext>
            </a:extLst>
          </p:cNvPr>
          <p:cNvSpPr txBox="1">
            <a:spLocks/>
          </p:cNvSpPr>
          <p:nvPr/>
        </p:nvSpPr>
        <p:spPr>
          <a:xfrm>
            <a:off x="389131" y="1174308"/>
            <a:ext cx="6475095" cy="48452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2" algn="just">
              <a:lnSpc>
                <a:spcPct val="120000"/>
              </a:lnSpc>
            </a:pPr>
            <a:r>
              <a:rPr lang="es-ES" b="1" dirty="0">
                <a:latin typeface="Arial" panose="020B0604020202020204" pitchFamily="34" charset="0"/>
                <a:cs typeface="Arial" panose="020B0604020202020204" pitchFamily="34" charset="0"/>
              </a:rPr>
              <a:t>Es la apropiación de la identidad de una  persona, para hacerse pasar por ella, asumir su identidad frente a terceros públicos o privados, a fin de obtener ciertos recursos o beneficios a su  nombre.</a:t>
            </a:r>
          </a:p>
          <a:p>
            <a:pPr marL="457200" lvl="2" algn="just">
              <a:lnSpc>
                <a:spcPct val="120000"/>
              </a:lnSpc>
            </a:pPr>
            <a:endParaRPr lang="es-ES" b="1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2" algn="just">
              <a:lnSpc>
                <a:spcPct val="120000"/>
              </a:lnSpc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Los métodos más comunes para el robo de  identidad: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Aquellos que se realizan de forma tradicional, sin acceso a internet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Los que sin acceso a internet se apoyan de alguna  herramienta tecnológica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dirty="0">
                <a:latin typeface="Arial" panose="020B0604020202020204" pitchFamily="34" charset="0"/>
                <a:cs typeface="Arial" panose="020B0604020202020204" pitchFamily="34" charset="0"/>
              </a:rPr>
              <a:t>y los que se realizan con acceso a internet.</a:t>
            </a:r>
          </a:p>
        </p:txBody>
      </p:sp>
      <p:pic>
        <p:nvPicPr>
          <p:cNvPr id="4" name="Picture 3" descr="Robo de identidad en Internet: Consejos para evitarlo | ESET">
            <a:extLst>
              <a:ext uri="{FF2B5EF4-FFF2-40B4-BE49-F238E27FC236}">
                <a16:creationId xmlns:a16="http://schemas.microsoft.com/office/drawing/2014/main" id="{621453F6-6933-DB48-27F5-497ED72215E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969429" y="1417321"/>
            <a:ext cx="3085930" cy="306324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5" name="TextBox 4">
            <a:extLst>
              <a:ext uri="{FF2B5EF4-FFF2-40B4-BE49-F238E27FC236}">
                <a16:creationId xmlns:a16="http://schemas.microsoft.com/office/drawing/2014/main" id="{96167FE0-83DB-6C8D-E981-8B3886F78CCF}"/>
              </a:ext>
            </a:extLst>
          </p:cNvPr>
          <p:cNvSpPr txBox="1"/>
          <p:nvPr/>
        </p:nvSpPr>
        <p:spPr>
          <a:xfrm>
            <a:off x="7382743" y="4633560"/>
            <a:ext cx="4420126" cy="10749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16205" marR="5080" algn="ctr">
              <a:lnSpc>
                <a:spcPct val="121100"/>
              </a:lnSpc>
              <a:spcBef>
                <a:spcPts val="95"/>
              </a:spcBef>
            </a:pPr>
            <a:r>
              <a:rPr lang="es-ES" sz="1800" i="1" spc="114" dirty="0">
                <a:solidFill>
                  <a:srgbClr val="001C71"/>
                </a:solidFill>
              </a:rPr>
              <a:t>Tu</a:t>
            </a:r>
            <a:r>
              <a:rPr lang="es-ES" sz="1800" i="1" spc="65" dirty="0">
                <a:solidFill>
                  <a:srgbClr val="001C71"/>
                </a:solidFill>
              </a:rPr>
              <a:t> </a:t>
            </a:r>
            <a:r>
              <a:rPr lang="es-ES" sz="1800" i="1" spc="105" dirty="0">
                <a:solidFill>
                  <a:srgbClr val="001C71"/>
                </a:solidFill>
              </a:rPr>
              <a:t>identidad</a:t>
            </a:r>
            <a:r>
              <a:rPr lang="es-ES" sz="1800" i="1" spc="60" dirty="0">
                <a:solidFill>
                  <a:srgbClr val="001C71"/>
                </a:solidFill>
              </a:rPr>
              <a:t> </a:t>
            </a:r>
            <a:r>
              <a:rPr lang="es-ES" sz="1800" i="1" spc="110" dirty="0">
                <a:solidFill>
                  <a:srgbClr val="001C71"/>
                </a:solidFill>
              </a:rPr>
              <a:t>es</a:t>
            </a:r>
            <a:r>
              <a:rPr lang="es-ES" sz="1800" i="1" spc="55" dirty="0">
                <a:solidFill>
                  <a:srgbClr val="001C71"/>
                </a:solidFill>
              </a:rPr>
              <a:t> </a:t>
            </a:r>
            <a:r>
              <a:rPr lang="es-ES" sz="1800" i="1" spc="90" dirty="0">
                <a:solidFill>
                  <a:srgbClr val="001C71"/>
                </a:solidFill>
              </a:rPr>
              <a:t>una</a:t>
            </a:r>
            <a:r>
              <a:rPr lang="es-ES" sz="1800" i="1" spc="70" dirty="0">
                <a:solidFill>
                  <a:srgbClr val="001C71"/>
                </a:solidFill>
              </a:rPr>
              <a:t> </a:t>
            </a:r>
            <a:r>
              <a:rPr lang="es-ES" sz="1800" i="1" spc="160" dirty="0">
                <a:solidFill>
                  <a:srgbClr val="001C71"/>
                </a:solidFill>
              </a:rPr>
              <a:t>de</a:t>
            </a:r>
            <a:r>
              <a:rPr lang="es-ES" sz="1800" i="1" spc="70" dirty="0">
                <a:solidFill>
                  <a:srgbClr val="001C71"/>
                </a:solidFill>
              </a:rPr>
              <a:t> </a:t>
            </a:r>
            <a:r>
              <a:rPr lang="es-ES" sz="1800" i="1" spc="65" dirty="0">
                <a:solidFill>
                  <a:srgbClr val="001C71"/>
                </a:solidFill>
              </a:rPr>
              <a:t>las</a:t>
            </a:r>
            <a:r>
              <a:rPr lang="es-ES" sz="1800" i="1" spc="55" dirty="0">
                <a:solidFill>
                  <a:srgbClr val="001C71"/>
                </a:solidFill>
              </a:rPr>
              <a:t> </a:t>
            </a:r>
            <a:r>
              <a:rPr lang="es-ES" sz="1800" i="1" spc="105" dirty="0">
                <a:solidFill>
                  <a:srgbClr val="001C71"/>
                </a:solidFill>
              </a:rPr>
              <a:t>cosas</a:t>
            </a:r>
            <a:r>
              <a:rPr lang="es-ES" sz="1800" i="1" spc="40" dirty="0">
                <a:solidFill>
                  <a:srgbClr val="001C71"/>
                </a:solidFill>
              </a:rPr>
              <a:t> </a:t>
            </a:r>
            <a:r>
              <a:rPr lang="es-ES" sz="1800" i="1" spc="114" dirty="0">
                <a:solidFill>
                  <a:srgbClr val="001C71"/>
                </a:solidFill>
              </a:rPr>
              <a:t>más</a:t>
            </a:r>
            <a:r>
              <a:rPr lang="es-ES" sz="1800" i="1" spc="55" dirty="0">
                <a:solidFill>
                  <a:srgbClr val="001C71"/>
                </a:solidFill>
              </a:rPr>
              <a:t> </a:t>
            </a:r>
            <a:r>
              <a:rPr lang="es-ES" sz="1800" i="1" spc="75" dirty="0">
                <a:solidFill>
                  <a:srgbClr val="001C71"/>
                </a:solidFill>
              </a:rPr>
              <a:t>importantes </a:t>
            </a:r>
            <a:r>
              <a:rPr lang="es-ES" sz="1800" i="1" spc="140" dirty="0">
                <a:solidFill>
                  <a:srgbClr val="001C71"/>
                </a:solidFill>
              </a:rPr>
              <a:t>que</a:t>
            </a:r>
            <a:r>
              <a:rPr lang="es-ES" sz="1800" i="1" spc="55" dirty="0">
                <a:solidFill>
                  <a:srgbClr val="001C71"/>
                </a:solidFill>
              </a:rPr>
              <a:t> </a:t>
            </a:r>
            <a:r>
              <a:rPr lang="es-ES" sz="1800" i="1" spc="114" dirty="0">
                <a:solidFill>
                  <a:srgbClr val="001C71"/>
                </a:solidFill>
              </a:rPr>
              <a:t>posees,</a:t>
            </a:r>
            <a:r>
              <a:rPr lang="es-ES" sz="1800" i="1" dirty="0">
                <a:solidFill>
                  <a:srgbClr val="001C71"/>
                </a:solidFill>
              </a:rPr>
              <a:t> </a:t>
            </a:r>
            <a:r>
              <a:rPr lang="es-ES" sz="1800" i="1" spc="114" dirty="0">
                <a:solidFill>
                  <a:srgbClr val="001C71"/>
                </a:solidFill>
              </a:rPr>
              <a:t>por</a:t>
            </a:r>
            <a:r>
              <a:rPr lang="es-ES" sz="1800" i="1" spc="35" dirty="0">
                <a:solidFill>
                  <a:srgbClr val="001C71"/>
                </a:solidFill>
              </a:rPr>
              <a:t> </a:t>
            </a:r>
            <a:r>
              <a:rPr lang="es-ES" sz="1800" i="1" spc="95" dirty="0">
                <a:solidFill>
                  <a:srgbClr val="001C71"/>
                </a:solidFill>
              </a:rPr>
              <a:t>lo</a:t>
            </a:r>
            <a:r>
              <a:rPr lang="es-ES" sz="1800" i="1" spc="45" dirty="0">
                <a:solidFill>
                  <a:srgbClr val="001C71"/>
                </a:solidFill>
              </a:rPr>
              <a:t> </a:t>
            </a:r>
            <a:r>
              <a:rPr lang="es-ES" sz="1800" i="1" spc="35" dirty="0">
                <a:solidFill>
                  <a:srgbClr val="001C71"/>
                </a:solidFill>
              </a:rPr>
              <a:t>tanto,</a:t>
            </a:r>
            <a:r>
              <a:rPr lang="es-ES" sz="1800" i="1" spc="25" dirty="0">
                <a:solidFill>
                  <a:srgbClr val="001C71"/>
                </a:solidFill>
              </a:rPr>
              <a:t> </a:t>
            </a:r>
            <a:r>
              <a:rPr lang="es-ES" sz="1800" i="1" spc="150" dirty="0">
                <a:solidFill>
                  <a:srgbClr val="001C71"/>
                </a:solidFill>
              </a:rPr>
              <a:t>debes </a:t>
            </a:r>
            <a:r>
              <a:rPr lang="es-ES" sz="1800" i="1" spc="-395" dirty="0">
                <a:solidFill>
                  <a:srgbClr val="001C71"/>
                </a:solidFill>
              </a:rPr>
              <a:t> </a:t>
            </a:r>
            <a:r>
              <a:rPr lang="es-ES" sz="1800" i="1" spc="100" dirty="0">
                <a:solidFill>
                  <a:srgbClr val="001C71"/>
                </a:solidFill>
              </a:rPr>
              <a:t>saber</a:t>
            </a:r>
            <a:r>
              <a:rPr lang="es-ES" sz="1800" i="1" spc="45" dirty="0">
                <a:solidFill>
                  <a:srgbClr val="001C71"/>
                </a:solidFill>
              </a:rPr>
              <a:t> </a:t>
            </a:r>
            <a:r>
              <a:rPr lang="es-ES" sz="1800" i="1" spc="155" dirty="0">
                <a:solidFill>
                  <a:srgbClr val="001C71"/>
                </a:solidFill>
              </a:rPr>
              <a:t>cómo</a:t>
            </a:r>
            <a:r>
              <a:rPr lang="es-ES" sz="1800" i="1" spc="30" dirty="0">
                <a:solidFill>
                  <a:srgbClr val="001C71"/>
                </a:solidFill>
              </a:rPr>
              <a:t> </a:t>
            </a:r>
            <a:r>
              <a:rPr lang="es-ES" sz="1800" i="1" spc="85" dirty="0">
                <a:solidFill>
                  <a:srgbClr val="001C71"/>
                </a:solidFill>
              </a:rPr>
              <a:t>protegerla.</a:t>
            </a:r>
          </a:p>
        </p:txBody>
      </p:sp>
    </p:spTree>
    <p:extLst>
      <p:ext uri="{BB962C8B-B14F-4D97-AF65-F5344CB8AC3E}">
        <p14:creationId xmlns:p14="http://schemas.microsoft.com/office/powerpoint/2010/main" val="3184948557"/>
      </p:ext>
    </p:extLst>
  </p:cSld>
  <p:clrMapOvr>
    <a:masterClrMapping/>
  </p:clrMapOvr>
  <p:transition/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6A50E16-2C86-019E-9D53-ACAA456F1F1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b="1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atos personales</a:t>
            </a:r>
            <a:endParaRPr lang="es-MX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C3EE9A4-6CC2-9490-1952-D43017E6E148}"/>
              </a:ext>
            </a:extLst>
          </p:cNvPr>
          <p:cNvSpPr txBox="1">
            <a:spLocks/>
          </p:cNvSpPr>
          <p:nvPr/>
        </p:nvSpPr>
        <p:spPr>
          <a:xfrm>
            <a:off x="4601936" y="2066543"/>
            <a:ext cx="7298468" cy="231203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457200" lvl="2" algn="just">
              <a:lnSpc>
                <a:spcPct val="120000"/>
              </a:lnSpc>
            </a:pP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Los datos personales son cualquier información relativa a la persona, que la identifica o hace identificable.</a:t>
            </a:r>
          </a:p>
          <a:p>
            <a:pPr marL="457200" lvl="2" algn="just">
              <a:lnSpc>
                <a:spcPct val="120000"/>
              </a:lnSpc>
            </a:pPr>
            <a:endParaRPr lang="es-ES" sz="2000" dirty="0"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457200" lvl="2" algn="just">
              <a:lnSpc>
                <a:spcPct val="120000"/>
              </a:lnSpc>
            </a:pPr>
            <a:r>
              <a:rPr lang="es-ES" sz="2000" dirty="0">
                <a:latin typeface="Arial" panose="020B0604020202020204" pitchFamily="34" charset="0"/>
                <a:cs typeface="Arial" panose="020B0604020202020204" pitchFamily="34" charset="0"/>
              </a:rPr>
              <a:t>Es la información que nos describe, que nos da identidad, nos caracteriza y diferencia de otros individuos.</a:t>
            </a:r>
          </a:p>
        </p:txBody>
      </p:sp>
      <p:pic>
        <p:nvPicPr>
          <p:cNvPr id="4" name="Picture 2" descr="Conoce el ABC de la Credencial para Votar">
            <a:extLst>
              <a:ext uri="{FF2B5EF4-FFF2-40B4-BE49-F238E27FC236}">
                <a16:creationId xmlns:a16="http://schemas.microsoft.com/office/drawing/2014/main" id="{A0D50DF5-EB38-0593-F57C-AEF19AB7052C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687" y="1743075"/>
            <a:ext cx="2705100" cy="16859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Consulta tu CURP en Línea totalmente Gratis e Imprimela.">
            <a:extLst>
              <a:ext uri="{FF2B5EF4-FFF2-40B4-BE49-F238E27FC236}">
                <a16:creationId xmlns:a16="http://schemas.microsoft.com/office/drawing/2014/main" id="{68851312-1460-009C-BDAB-B4901A765CF3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141687" y="3824159"/>
            <a:ext cx="2798323" cy="1524867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1241760353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43A7043-D179-8B28-D9CD-3BCB0EBFA098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b="1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 de identidad</a:t>
            </a:r>
            <a:endParaRPr lang="es-MX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3D296B44-B12C-530C-88B8-2C046DA81D14}"/>
              </a:ext>
            </a:extLst>
          </p:cNvPr>
          <p:cNvSpPr txBox="1">
            <a:spLocks/>
          </p:cNvSpPr>
          <p:nvPr/>
        </p:nvSpPr>
        <p:spPr>
          <a:xfrm>
            <a:off x="266951" y="1849034"/>
            <a:ext cx="7242802" cy="4707409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6205" marR="98425" algn="just">
              <a:lnSpc>
                <a:spcPct val="120900"/>
              </a:lnSpc>
              <a:spcBef>
                <a:spcPts val="835"/>
              </a:spcBef>
            </a:pPr>
            <a:r>
              <a:rPr lang="es-ES" sz="1700" spc="105" dirty="0"/>
              <a:t>El</a:t>
            </a:r>
            <a:r>
              <a:rPr lang="es-ES" sz="1700" spc="60" dirty="0"/>
              <a:t> </a:t>
            </a:r>
            <a:r>
              <a:rPr lang="es-ES" sz="1700" spc="114" dirty="0"/>
              <a:t>robo</a:t>
            </a:r>
            <a:r>
              <a:rPr lang="es-ES" sz="1700" spc="55" dirty="0"/>
              <a:t> </a:t>
            </a:r>
            <a:r>
              <a:rPr lang="es-ES" sz="1700" spc="170" dirty="0"/>
              <a:t>de</a:t>
            </a:r>
            <a:r>
              <a:rPr lang="es-ES" sz="1700" spc="55" dirty="0"/>
              <a:t> </a:t>
            </a:r>
            <a:r>
              <a:rPr lang="es-ES" sz="1700" spc="105" dirty="0"/>
              <a:t>identidad</a:t>
            </a:r>
            <a:r>
              <a:rPr lang="es-ES" sz="1700" spc="65" dirty="0"/>
              <a:t> tiene</a:t>
            </a:r>
            <a:r>
              <a:rPr lang="es-ES" sz="1700" spc="75" dirty="0"/>
              <a:t> </a:t>
            </a:r>
            <a:r>
              <a:rPr lang="es-ES" sz="1700" spc="105" dirty="0"/>
              <a:t>consecuencias</a:t>
            </a:r>
            <a:r>
              <a:rPr lang="es-ES" sz="1700" spc="75" dirty="0"/>
              <a:t> </a:t>
            </a:r>
            <a:r>
              <a:rPr lang="es-ES" sz="1700" spc="100" dirty="0"/>
              <a:t>graves</a:t>
            </a:r>
            <a:r>
              <a:rPr lang="es-ES" sz="1700" spc="65" dirty="0"/>
              <a:t> </a:t>
            </a:r>
            <a:r>
              <a:rPr lang="es-ES" sz="1700" spc="140" dirty="0"/>
              <a:t>que</a:t>
            </a:r>
            <a:r>
              <a:rPr lang="es-ES" sz="1700" spc="60" dirty="0"/>
              <a:t> </a:t>
            </a:r>
            <a:r>
              <a:rPr lang="es-ES" sz="1700" spc="140" dirty="0"/>
              <a:t>pueden</a:t>
            </a:r>
            <a:r>
              <a:rPr lang="es-ES" sz="1700" spc="70" dirty="0"/>
              <a:t> </a:t>
            </a:r>
            <a:r>
              <a:rPr lang="es-ES" sz="1700" spc="65" dirty="0"/>
              <a:t>requerir</a:t>
            </a:r>
            <a:r>
              <a:rPr lang="es-ES" sz="1700" spc="75" dirty="0"/>
              <a:t> </a:t>
            </a:r>
            <a:r>
              <a:rPr lang="es-ES" sz="1700" spc="170" dirty="0"/>
              <a:t>de</a:t>
            </a:r>
            <a:r>
              <a:rPr lang="es-ES" sz="1700" spc="55" dirty="0"/>
              <a:t> </a:t>
            </a:r>
            <a:r>
              <a:rPr lang="es-ES" sz="1700" spc="105" dirty="0"/>
              <a:t>tiempo </a:t>
            </a:r>
            <a:r>
              <a:rPr lang="es-ES" sz="1700" spc="-390" dirty="0"/>
              <a:t> </a:t>
            </a:r>
            <a:r>
              <a:rPr lang="es-ES" sz="1700" spc="35" dirty="0"/>
              <a:t>y </a:t>
            </a:r>
            <a:r>
              <a:rPr lang="es-ES" sz="1700" spc="80" dirty="0"/>
              <a:t>recursos </a:t>
            </a:r>
            <a:r>
              <a:rPr lang="es-ES" sz="1700" spc="120" dirty="0"/>
              <a:t>económicos </a:t>
            </a:r>
            <a:r>
              <a:rPr lang="es-ES" sz="1700" spc="85" dirty="0"/>
              <a:t>para </a:t>
            </a:r>
            <a:r>
              <a:rPr lang="es-ES" sz="1700" spc="65" dirty="0"/>
              <a:t>resolverse. </a:t>
            </a:r>
            <a:r>
              <a:rPr lang="es-ES" sz="1700" spc="40" dirty="0"/>
              <a:t>Por </a:t>
            </a:r>
            <a:r>
              <a:rPr lang="es-ES" sz="1700" spc="95" dirty="0"/>
              <a:t>lo general, </a:t>
            </a:r>
            <a:r>
              <a:rPr lang="es-ES" sz="1700" spc="90" dirty="0"/>
              <a:t>a </a:t>
            </a:r>
            <a:r>
              <a:rPr lang="es-ES" sz="1700" spc="70" dirty="0"/>
              <a:t>las </a:t>
            </a:r>
            <a:r>
              <a:rPr lang="es-ES" sz="1700" spc="65" dirty="0"/>
              <a:t>víctimas </a:t>
            </a:r>
            <a:r>
              <a:rPr lang="es-ES" sz="1700" spc="85" dirty="0"/>
              <a:t>les </a:t>
            </a:r>
            <a:r>
              <a:rPr lang="es-ES" sz="1700" spc="65" dirty="0"/>
              <a:t>lleva </a:t>
            </a:r>
            <a:r>
              <a:rPr lang="es-ES" sz="1700" spc="130" dirty="0"/>
              <a:t>mucho </a:t>
            </a:r>
            <a:r>
              <a:rPr lang="es-ES" sz="1700" spc="105" dirty="0"/>
              <a:t>tiempo </a:t>
            </a:r>
            <a:r>
              <a:rPr lang="es-ES" sz="1700" spc="100" dirty="0"/>
              <a:t>darse </a:t>
            </a:r>
            <a:r>
              <a:rPr lang="es-ES" sz="1700" spc="85" dirty="0"/>
              <a:t>cuenta </a:t>
            </a:r>
            <a:r>
              <a:rPr lang="es-ES" sz="1700" spc="170" dirty="0"/>
              <a:t>de </a:t>
            </a:r>
            <a:r>
              <a:rPr lang="es-ES" sz="1700" spc="135" dirty="0"/>
              <a:t>que </a:t>
            </a:r>
            <a:r>
              <a:rPr lang="es-ES" sz="1700" spc="95" dirty="0"/>
              <a:t>su </a:t>
            </a:r>
            <a:r>
              <a:rPr lang="es-ES" sz="1700" spc="105" dirty="0"/>
              <a:t>identidad </a:t>
            </a:r>
            <a:r>
              <a:rPr lang="es-ES" sz="1700" spc="95" dirty="0"/>
              <a:t>ha </a:t>
            </a:r>
            <a:r>
              <a:rPr lang="es-ES" sz="1700" spc="114" dirty="0"/>
              <a:t>sido </a:t>
            </a:r>
            <a:r>
              <a:rPr lang="es-ES" sz="1700" spc="105" dirty="0"/>
              <a:t>robada, </a:t>
            </a:r>
            <a:r>
              <a:rPr lang="es-ES" sz="1700" spc="35" dirty="0"/>
              <a:t>y </a:t>
            </a:r>
            <a:r>
              <a:rPr lang="es-ES" sz="1700" spc="90" dirty="0"/>
              <a:t>una </a:t>
            </a:r>
            <a:r>
              <a:rPr lang="es-ES" sz="1700" spc="85" dirty="0"/>
              <a:t>vez </a:t>
            </a:r>
            <a:r>
              <a:rPr lang="es-ES" sz="1700" spc="135" dirty="0"/>
              <a:t>que</a:t>
            </a:r>
            <a:r>
              <a:rPr lang="es-ES" sz="1700" spc="140" dirty="0"/>
              <a:t> </a:t>
            </a:r>
            <a:r>
              <a:rPr lang="es-ES" sz="1700" spc="130" dirty="0"/>
              <a:t>sucede</a:t>
            </a:r>
            <a:r>
              <a:rPr lang="es-ES" sz="1700" spc="65" dirty="0"/>
              <a:t> </a:t>
            </a:r>
            <a:r>
              <a:rPr lang="es-ES" sz="1700" spc="110" dirty="0"/>
              <a:t>es</a:t>
            </a:r>
            <a:r>
              <a:rPr lang="es-ES" sz="1700" spc="35" dirty="0"/>
              <a:t> </a:t>
            </a:r>
            <a:r>
              <a:rPr lang="es-ES" sz="1700" spc="100" dirty="0"/>
              <a:t>muy</a:t>
            </a:r>
            <a:r>
              <a:rPr lang="es-ES" sz="1700" spc="65" dirty="0"/>
              <a:t> </a:t>
            </a:r>
            <a:r>
              <a:rPr lang="es-ES" sz="1700" spc="60" dirty="0"/>
              <a:t>difícil</a:t>
            </a:r>
            <a:r>
              <a:rPr lang="es-ES" sz="1700" spc="35" dirty="0"/>
              <a:t> </a:t>
            </a:r>
            <a:r>
              <a:rPr lang="es-ES" sz="1700" spc="75" dirty="0"/>
              <a:t>recuperarla</a:t>
            </a:r>
            <a:r>
              <a:rPr lang="es-ES" sz="1700" spc="65" dirty="0"/>
              <a:t> </a:t>
            </a:r>
            <a:r>
              <a:rPr lang="es-ES" sz="1700" spc="35" dirty="0"/>
              <a:t>y</a:t>
            </a:r>
            <a:r>
              <a:rPr lang="es-ES" sz="1700" spc="50" dirty="0"/>
              <a:t> </a:t>
            </a:r>
            <a:r>
              <a:rPr lang="es-ES" sz="1700" spc="110" dirty="0"/>
              <a:t>es</a:t>
            </a:r>
            <a:r>
              <a:rPr lang="es-ES" sz="1700" spc="55" dirty="0"/>
              <a:t> </a:t>
            </a:r>
            <a:r>
              <a:rPr lang="es-ES" sz="1700" spc="130" dirty="0"/>
              <a:t>común</a:t>
            </a:r>
            <a:r>
              <a:rPr lang="es-ES" sz="1700" spc="65" dirty="0"/>
              <a:t> </a:t>
            </a:r>
            <a:r>
              <a:rPr lang="es-ES" sz="1700" spc="60" dirty="0"/>
              <a:t>tener</a:t>
            </a:r>
            <a:r>
              <a:rPr lang="es-ES" sz="1700" spc="70" dirty="0"/>
              <a:t> </a:t>
            </a:r>
            <a:r>
              <a:rPr lang="es-ES" sz="1700" spc="110" dirty="0"/>
              <a:t>problemas</a:t>
            </a:r>
            <a:r>
              <a:rPr lang="es-ES" sz="1700" spc="55" dirty="0"/>
              <a:t> </a:t>
            </a:r>
            <a:r>
              <a:rPr lang="es-ES" sz="1700" spc="25" dirty="0"/>
              <a:t>futuros.</a:t>
            </a:r>
          </a:p>
          <a:p>
            <a:pPr marL="116205" marR="216535" algn="just">
              <a:lnSpc>
                <a:spcPct val="120900"/>
              </a:lnSpc>
              <a:spcBef>
                <a:spcPts val="830"/>
              </a:spcBef>
            </a:pPr>
            <a:r>
              <a:rPr lang="es-ES" sz="1700" spc="105" dirty="0"/>
              <a:t>El </a:t>
            </a:r>
            <a:r>
              <a:rPr lang="es-ES" sz="1700" spc="110" dirty="0"/>
              <a:t>uso </a:t>
            </a:r>
            <a:r>
              <a:rPr lang="es-ES" sz="1700" spc="160" dirty="0"/>
              <a:t>de </a:t>
            </a:r>
            <a:r>
              <a:rPr lang="es-ES" sz="1700" spc="65" dirty="0"/>
              <a:t>fuentes </a:t>
            </a:r>
            <a:r>
              <a:rPr lang="es-ES" sz="1700" spc="170" dirty="0"/>
              <a:t>de </a:t>
            </a:r>
            <a:r>
              <a:rPr lang="es-ES" sz="1700" spc="50" dirty="0"/>
              <a:t>fácil </a:t>
            </a:r>
            <a:r>
              <a:rPr lang="es-ES" sz="1700" spc="125" dirty="0"/>
              <a:t>acceso </a:t>
            </a:r>
            <a:r>
              <a:rPr lang="es-ES" sz="1700" spc="35" dirty="0"/>
              <a:t>y </a:t>
            </a:r>
            <a:r>
              <a:rPr lang="es-ES" sz="1700" spc="65" dirty="0"/>
              <a:t>ricas </a:t>
            </a:r>
            <a:r>
              <a:rPr lang="es-ES" sz="1700" spc="114" dirty="0"/>
              <a:t>en </a:t>
            </a:r>
            <a:r>
              <a:rPr lang="es-ES" sz="1700" spc="75" dirty="0"/>
              <a:t>información, </a:t>
            </a:r>
            <a:r>
              <a:rPr lang="es-ES" sz="1700" spc="114" dirty="0"/>
              <a:t>como </a:t>
            </a:r>
            <a:r>
              <a:rPr lang="es-ES" sz="1700" spc="65" dirty="0"/>
              <a:t>las </a:t>
            </a:r>
            <a:r>
              <a:rPr lang="es-ES" sz="1700" spc="100" dirty="0"/>
              <a:t>redes </a:t>
            </a:r>
            <a:r>
              <a:rPr lang="es-ES" sz="1700" spc="80" dirty="0"/>
              <a:t>sociales,</a:t>
            </a:r>
            <a:r>
              <a:rPr lang="es-ES" sz="1700" dirty="0"/>
              <a:t> </a:t>
            </a:r>
            <a:r>
              <a:rPr lang="es-ES" sz="1700" spc="114" dirty="0"/>
              <a:t>en</a:t>
            </a:r>
            <a:r>
              <a:rPr lang="es-ES" sz="1700" spc="35" dirty="0"/>
              <a:t> </a:t>
            </a:r>
            <a:r>
              <a:rPr lang="es-ES" sz="1700" spc="70" dirty="0"/>
              <a:t>las</a:t>
            </a:r>
            <a:r>
              <a:rPr lang="es-ES" sz="1700" spc="60" dirty="0"/>
              <a:t> </a:t>
            </a:r>
            <a:r>
              <a:rPr lang="es-ES" sz="1700" spc="135" dirty="0"/>
              <a:t>que</a:t>
            </a:r>
            <a:r>
              <a:rPr lang="es-ES" sz="1700" spc="70" dirty="0"/>
              <a:t> </a:t>
            </a:r>
            <a:r>
              <a:rPr lang="es-ES" sz="1700" spc="110" dirty="0"/>
              <a:t>se</a:t>
            </a:r>
            <a:r>
              <a:rPr lang="es-ES" sz="1700" spc="55" dirty="0"/>
              <a:t> </a:t>
            </a:r>
            <a:r>
              <a:rPr lang="es-ES" sz="1700" spc="150" dirty="0"/>
              <a:t>puede</a:t>
            </a:r>
            <a:r>
              <a:rPr lang="es-ES" sz="1700" spc="70" dirty="0"/>
              <a:t> </a:t>
            </a:r>
            <a:r>
              <a:rPr lang="es-ES" sz="1700" spc="95" dirty="0"/>
              <a:t>obtener</a:t>
            </a:r>
            <a:r>
              <a:rPr lang="es-ES" sz="1700" spc="55" dirty="0"/>
              <a:t> </a:t>
            </a:r>
            <a:r>
              <a:rPr lang="es-ES" sz="1700" spc="85" dirty="0"/>
              <a:t>información</a:t>
            </a:r>
            <a:r>
              <a:rPr lang="es-ES" sz="1700" spc="50" dirty="0"/>
              <a:t> </a:t>
            </a:r>
            <a:r>
              <a:rPr lang="es-ES" sz="1700" spc="105" dirty="0"/>
              <a:t>sobre</a:t>
            </a:r>
            <a:r>
              <a:rPr lang="es-ES" sz="1700" spc="55" dirty="0"/>
              <a:t> </a:t>
            </a:r>
            <a:r>
              <a:rPr lang="es-ES" sz="1700" spc="95" dirty="0"/>
              <a:t>una</a:t>
            </a:r>
            <a:r>
              <a:rPr lang="es-ES" sz="1700" spc="55" dirty="0"/>
              <a:t> </a:t>
            </a:r>
            <a:r>
              <a:rPr lang="es-ES" sz="1700" spc="95" dirty="0"/>
              <a:t>persona,</a:t>
            </a:r>
            <a:r>
              <a:rPr lang="es-ES" sz="1700" dirty="0"/>
              <a:t> </a:t>
            </a:r>
            <a:r>
              <a:rPr lang="es-ES" sz="1700" spc="25" dirty="0"/>
              <a:t>tal</a:t>
            </a:r>
            <a:r>
              <a:rPr lang="es-ES" sz="1700" spc="60" dirty="0"/>
              <a:t> </a:t>
            </a:r>
            <a:r>
              <a:rPr lang="es-ES" sz="1700" spc="130" dirty="0"/>
              <a:t>como: </a:t>
            </a:r>
            <a:r>
              <a:rPr lang="es-ES" sz="1700" spc="-390" dirty="0"/>
              <a:t> </a:t>
            </a:r>
            <a:r>
              <a:rPr lang="es-ES" sz="1700" spc="100" dirty="0"/>
              <a:t>nombre, </a:t>
            </a:r>
            <a:r>
              <a:rPr lang="es-ES" sz="1700" spc="130" dirty="0"/>
              <a:t>edad, </a:t>
            </a:r>
            <a:r>
              <a:rPr lang="es-ES" sz="1700" spc="85" dirty="0"/>
              <a:t>fecha </a:t>
            </a:r>
            <a:r>
              <a:rPr lang="es-ES" sz="1700" spc="160" dirty="0"/>
              <a:t>de </a:t>
            </a:r>
            <a:r>
              <a:rPr lang="es-ES" sz="1700" spc="80" dirty="0"/>
              <a:t>nacimiento, </a:t>
            </a:r>
            <a:r>
              <a:rPr lang="es-ES" sz="1700" spc="60" dirty="0"/>
              <a:t>fotografía, </a:t>
            </a:r>
            <a:r>
              <a:rPr lang="es-ES" sz="1700" spc="80" dirty="0"/>
              <a:t>información </a:t>
            </a:r>
            <a:r>
              <a:rPr lang="es-ES" sz="1700" spc="160" dirty="0"/>
              <a:t>de </a:t>
            </a:r>
            <a:r>
              <a:rPr lang="es-ES" sz="1700" spc="80" dirty="0"/>
              <a:t>tipo </a:t>
            </a:r>
            <a:r>
              <a:rPr lang="es-ES" sz="1700" spc="35" dirty="0"/>
              <a:t>familiar, </a:t>
            </a:r>
            <a:r>
              <a:rPr lang="es-ES" sz="1700" spc="40" dirty="0"/>
              <a:t> </a:t>
            </a:r>
            <a:r>
              <a:rPr lang="es-ES" sz="1700" spc="70" dirty="0"/>
              <a:t>escolar,</a:t>
            </a:r>
            <a:r>
              <a:rPr lang="es-ES" sz="1700" spc="-20" dirty="0"/>
              <a:t> </a:t>
            </a:r>
            <a:r>
              <a:rPr lang="es-ES" sz="1700" spc="70" dirty="0"/>
              <a:t>laboral,</a:t>
            </a:r>
            <a:r>
              <a:rPr lang="es-ES" sz="1700" spc="-20" dirty="0"/>
              <a:t> </a:t>
            </a:r>
            <a:r>
              <a:rPr lang="es-ES" sz="1700" spc="55" dirty="0"/>
              <a:t>entre</a:t>
            </a:r>
            <a:r>
              <a:rPr lang="es-ES" sz="1700" spc="70" dirty="0"/>
              <a:t> </a:t>
            </a:r>
            <a:r>
              <a:rPr lang="es-ES" sz="1700" spc="35" dirty="0"/>
              <a:t>otra,</a:t>
            </a:r>
            <a:r>
              <a:rPr lang="es-ES" sz="1700" spc="5" dirty="0"/>
              <a:t> </a:t>
            </a:r>
            <a:r>
              <a:rPr lang="es-ES" sz="1700" spc="40" dirty="0"/>
              <a:t>facilitando</a:t>
            </a:r>
            <a:r>
              <a:rPr lang="es-ES" sz="1700" spc="50" dirty="0"/>
              <a:t> </a:t>
            </a:r>
            <a:r>
              <a:rPr lang="es-ES" sz="1700" spc="90" dirty="0"/>
              <a:t>a</a:t>
            </a:r>
            <a:r>
              <a:rPr lang="es-ES" sz="1700" spc="55" dirty="0"/>
              <a:t> </a:t>
            </a:r>
            <a:r>
              <a:rPr lang="es-ES" sz="1700" spc="85" dirty="0"/>
              <a:t>los</a:t>
            </a:r>
            <a:r>
              <a:rPr lang="es-ES" sz="1700" spc="55" dirty="0"/>
              <a:t> </a:t>
            </a:r>
            <a:r>
              <a:rPr lang="es-ES" sz="1700" spc="90" dirty="0"/>
              <a:t>delincuentes</a:t>
            </a:r>
            <a:r>
              <a:rPr lang="es-ES" sz="1700" spc="95" dirty="0"/>
              <a:t> </a:t>
            </a:r>
            <a:r>
              <a:rPr lang="es-ES" sz="1700" spc="70" dirty="0"/>
              <a:t>el</a:t>
            </a:r>
            <a:r>
              <a:rPr lang="es-ES" sz="1700" spc="60" dirty="0"/>
              <a:t> </a:t>
            </a:r>
            <a:r>
              <a:rPr lang="es-ES" sz="1700" spc="114" dirty="0"/>
              <a:t>robo</a:t>
            </a:r>
            <a:r>
              <a:rPr lang="es-ES" sz="1700" spc="65" dirty="0"/>
              <a:t> </a:t>
            </a:r>
            <a:r>
              <a:rPr lang="es-ES" sz="1700" spc="160" dirty="0"/>
              <a:t>de</a:t>
            </a:r>
            <a:r>
              <a:rPr lang="es-ES" sz="1700" spc="70" dirty="0"/>
              <a:t> </a:t>
            </a:r>
            <a:r>
              <a:rPr lang="es-ES" sz="1700" spc="95" dirty="0"/>
              <a:t>identidad.</a:t>
            </a:r>
          </a:p>
          <a:p>
            <a:pPr marL="116205" marR="123825" algn="just">
              <a:lnSpc>
                <a:spcPct val="120500"/>
              </a:lnSpc>
              <a:spcBef>
                <a:spcPts val="844"/>
              </a:spcBef>
            </a:pPr>
            <a:r>
              <a:rPr lang="es-ES" sz="1700" spc="100" dirty="0"/>
              <a:t>México</a:t>
            </a:r>
            <a:r>
              <a:rPr lang="es-ES" sz="1700" spc="30" dirty="0"/>
              <a:t> </a:t>
            </a:r>
            <a:r>
              <a:rPr lang="es-ES" sz="1700" spc="110" dirty="0"/>
              <a:t>se</a:t>
            </a:r>
            <a:r>
              <a:rPr lang="es-ES" sz="1700" spc="55" dirty="0"/>
              <a:t> </a:t>
            </a:r>
            <a:r>
              <a:rPr lang="es-ES" sz="1700" spc="110" dirty="0"/>
              <a:t>ubica</a:t>
            </a:r>
            <a:r>
              <a:rPr lang="es-ES" sz="1700" spc="55" dirty="0"/>
              <a:t> </a:t>
            </a:r>
            <a:r>
              <a:rPr lang="es-ES" sz="1700" spc="114" dirty="0"/>
              <a:t>en</a:t>
            </a:r>
            <a:r>
              <a:rPr lang="es-ES" sz="1700" spc="45" dirty="0"/>
              <a:t> </a:t>
            </a:r>
            <a:r>
              <a:rPr lang="es-ES" sz="1700" spc="80" dirty="0"/>
              <a:t>el</a:t>
            </a:r>
            <a:r>
              <a:rPr lang="es-ES" sz="1700" spc="60" dirty="0"/>
              <a:t> </a:t>
            </a:r>
            <a:r>
              <a:rPr lang="es-ES" sz="1700" spc="114" dirty="0"/>
              <a:t>8°</a:t>
            </a:r>
            <a:r>
              <a:rPr lang="es-ES" sz="1700" spc="50" dirty="0"/>
              <a:t> </a:t>
            </a:r>
            <a:r>
              <a:rPr lang="es-ES" sz="1700" spc="100" dirty="0"/>
              <a:t>lugar</a:t>
            </a:r>
            <a:r>
              <a:rPr lang="es-ES" sz="1700" spc="50" dirty="0"/>
              <a:t> </a:t>
            </a:r>
            <a:r>
              <a:rPr lang="es-ES" sz="1700" spc="114" dirty="0"/>
              <a:t>en</a:t>
            </a:r>
            <a:r>
              <a:rPr lang="es-ES" sz="1700" spc="50" dirty="0"/>
              <a:t> </a:t>
            </a:r>
            <a:r>
              <a:rPr lang="es-ES" sz="1700" spc="80" dirty="0"/>
              <a:t>el</a:t>
            </a:r>
            <a:r>
              <a:rPr lang="es-ES" sz="1700" spc="60" dirty="0"/>
              <a:t> </a:t>
            </a:r>
            <a:r>
              <a:rPr lang="es-ES" sz="1700" spc="140" dirty="0"/>
              <a:t>mundo</a:t>
            </a:r>
            <a:r>
              <a:rPr lang="es-ES" sz="1700" spc="80" dirty="0"/>
              <a:t> </a:t>
            </a:r>
            <a:r>
              <a:rPr lang="es-ES" sz="1700" spc="35" dirty="0"/>
              <a:t>y</a:t>
            </a:r>
            <a:r>
              <a:rPr lang="es-ES" sz="1700" spc="50" dirty="0"/>
              <a:t> </a:t>
            </a:r>
            <a:r>
              <a:rPr lang="es-ES" sz="1700" spc="114" dirty="0"/>
              <a:t>en</a:t>
            </a:r>
            <a:r>
              <a:rPr lang="es-ES" sz="1700" spc="50" dirty="0"/>
              <a:t> </a:t>
            </a:r>
            <a:r>
              <a:rPr lang="es-ES" sz="1700" spc="160" dirty="0"/>
              <a:t>2do</a:t>
            </a:r>
            <a:r>
              <a:rPr lang="es-ES" sz="1700" spc="45" dirty="0"/>
              <a:t> </a:t>
            </a:r>
            <a:r>
              <a:rPr lang="es-ES" sz="1700" spc="100" dirty="0"/>
              <a:t>lugar</a:t>
            </a:r>
            <a:r>
              <a:rPr lang="es-ES" sz="1700" spc="55" dirty="0"/>
              <a:t> </a:t>
            </a:r>
            <a:r>
              <a:rPr lang="es-ES" sz="1700" spc="170" dirty="0"/>
              <a:t>de</a:t>
            </a:r>
            <a:r>
              <a:rPr lang="es-ES" sz="1700" spc="20" dirty="0"/>
              <a:t> </a:t>
            </a:r>
            <a:r>
              <a:rPr lang="es-ES" sz="1700" spc="105" dirty="0"/>
              <a:t>América</a:t>
            </a:r>
            <a:r>
              <a:rPr lang="es-ES" sz="1700" spc="50" dirty="0"/>
              <a:t> </a:t>
            </a:r>
            <a:r>
              <a:rPr lang="es-ES" sz="1700" spc="65" dirty="0"/>
              <a:t>Latina</a:t>
            </a:r>
            <a:r>
              <a:rPr lang="es-ES" sz="1700" spc="70" dirty="0"/>
              <a:t> </a:t>
            </a:r>
            <a:r>
              <a:rPr lang="es-ES" sz="1700" spc="114" dirty="0"/>
              <a:t>por </a:t>
            </a:r>
            <a:r>
              <a:rPr lang="es-ES" sz="1700" spc="-390" dirty="0"/>
              <a:t> </a:t>
            </a:r>
            <a:r>
              <a:rPr lang="es-ES" sz="1700" spc="114" dirty="0"/>
              <a:t>robo</a:t>
            </a:r>
            <a:r>
              <a:rPr lang="es-ES" sz="1700" spc="60" dirty="0"/>
              <a:t> </a:t>
            </a:r>
            <a:r>
              <a:rPr lang="es-ES" sz="1700" spc="160" dirty="0"/>
              <a:t>de</a:t>
            </a:r>
            <a:r>
              <a:rPr lang="es-ES" sz="1700" spc="50" dirty="0"/>
              <a:t> </a:t>
            </a:r>
            <a:r>
              <a:rPr lang="es-ES" sz="1700" spc="95" dirty="0"/>
              <a:t>identidad,</a:t>
            </a:r>
            <a:r>
              <a:rPr lang="es-ES" sz="1700" dirty="0"/>
              <a:t> </a:t>
            </a:r>
            <a:r>
              <a:rPr lang="es-ES" sz="1700" spc="140" dirty="0"/>
              <a:t>según</a:t>
            </a:r>
            <a:r>
              <a:rPr lang="es-ES" sz="1700" spc="65" dirty="0"/>
              <a:t> </a:t>
            </a:r>
            <a:r>
              <a:rPr lang="es-ES" sz="1700" spc="55" dirty="0"/>
              <a:t>firmas </a:t>
            </a:r>
            <a:r>
              <a:rPr lang="es-ES" sz="1700" spc="95" dirty="0"/>
              <a:t>especializadas.</a:t>
            </a:r>
          </a:p>
        </p:txBody>
      </p:sp>
      <p:pic>
        <p:nvPicPr>
          <p:cNvPr id="4" name="Picture 3" descr="Enfoque Seguro | Seguridad Informática parte 3: Robo de Identidad">
            <a:extLst>
              <a:ext uri="{FF2B5EF4-FFF2-40B4-BE49-F238E27FC236}">
                <a16:creationId xmlns:a16="http://schemas.microsoft.com/office/drawing/2014/main" id="{300632C8-AABF-752B-803B-E02447A10DB8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7736715" y="1349505"/>
            <a:ext cx="4188334" cy="3978917"/>
          </a:xfrm>
          <a:prstGeom prst="ellipse">
            <a:avLst/>
          </a:prstGeom>
          <a:ln>
            <a:noFill/>
          </a:ln>
          <a:effectLst>
            <a:softEdge rad="112500"/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823225339"/>
      </p:ext>
    </p:extLst>
  </p:cSld>
  <p:clrMapOvr>
    <a:masterClrMapping/>
  </p:clrMapOvr>
  <p:transition/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E2E8C73-431D-8C25-7704-838069A3146F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b="1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obo de identidad</a:t>
            </a:r>
            <a:endParaRPr lang="es-MX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5AE356CC-E552-A06E-5611-932ACD59FCAE}"/>
              </a:ext>
            </a:extLst>
          </p:cNvPr>
          <p:cNvSpPr txBox="1">
            <a:spLocks/>
          </p:cNvSpPr>
          <p:nvPr/>
        </p:nvSpPr>
        <p:spPr>
          <a:xfrm>
            <a:off x="234072" y="2675482"/>
            <a:ext cx="4529563" cy="240351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116205" marR="98425" algn="just">
              <a:lnSpc>
                <a:spcPct val="120900"/>
              </a:lnSpc>
              <a:spcBef>
                <a:spcPts val="835"/>
              </a:spcBef>
            </a:pPr>
            <a:r>
              <a:rPr lang="es-ES" sz="1800" spc="105" dirty="0"/>
              <a:t>A continuación, se  ejemplifican los tipos  de acciones que llevan  a cabo quienes roban tu  identidad y las  consecuencias de las  mismas para tu  persona:</a:t>
            </a:r>
          </a:p>
        </p:txBody>
      </p:sp>
      <p:grpSp>
        <p:nvGrpSpPr>
          <p:cNvPr id="4" name="object 3">
            <a:extLst>
              <a:ext uri="{FF2B5EF4-FFF2-40B4-BE49-F238E27FC236}">
                <a16:creationId xmlns:a16="http://schemas.microsoft.com/office/drawing/2014/main" id="{64016970-B6FB-9667-A401-87F56FE69DCF}"/>
              </a:ext>
            </a:extLst>
          </p:cNvPr>
          <p:cNvGrpSpPr/>
          <p:nvPr/>
        </p:nvGrpSpPr>
        <p:grpSpPr>
          <a:xfrm>
            <a:off x="5136204" y="252700"/>
            <a:ext cx="6984460" cy="6605300"/>
            <a:chOff x="3383947" y="1057655"/>
            <a:chExt cx="6674452" cy="5658611"/>
          </a:xfrm>
        </p:grpSpPr>
        <p:pic>
          <p:nvPicPr>
            <p:cNvPr id="5" name="object 4">
              <a:extLst>
                <a:ext uri="{FF2B5EF4-FFF2-40B4-BE49-F238E27FC236}">
                  <a16:creationId xmlns:a16="http://schemas.microsoft.com/office/drawing/2014/main" id="{E086536C-900D-06EA-6C45-FC6F4B2F098F}"/>
                </a:ext>
              </a:extLst>
            </p:cNvPr>
            <p:cNvPicPr/>
            <p:nvPr/>
          </p:nvPicPr>
          <p:blipFill>
            <a:blip r:embed="rId2" cstate="print"/>
            <a:stretch>
              <a:fillRect/>
            </a:stretch>
          </p:blipFill>
          <p:spPr>
            <a:xfrm>
              <a:off x="9442703" y="1057655"/>
              <a:ext cx="615696" cy="5658611"/>
            </a:xfrm>
            <a:prstGeom prst="rect">
              <a:avLst/>
            </a:prstGeom>
          </p:spPr>
        </p:pic>
        <p:pic>
          <p:nvPicPr>
            <p:cNvPr id="6" name="object 5">
              <a:extLst>
                <a:ext uri="{FF2B5EF4-FFF2-40B4-BE49-F238E27FC236}">
                  <a16:creationId xmlns:a16="http://schemas.microsoft.com/office/drawing/2014/main" id="{2377804C-D89D-20B1-A3D2-AE6523B095D7}"/>
                </a:ext>
              </a:extLst>
            </p:cNvPr>
            <p:cNvPicPr/>
            <p:nvPr/>
          </p:nvPicPr>
          <p:blipFill rotWithShape="1">
            <a:blip r:embed="rId3" cstate="print"/>
            <a:srcRect b="4170"/>
            <a:stretch/>
          </p:blipFill>
          <p:spPr>
            <a:xfrm>
              <a:off x="3383947" y="1057656"/>
              <a:ext cx="6674451" cy="557527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568307222"/>
      </p:ext>
    </p:extLst>
  </p:cSld>
  <p:clrMapOvr>
    <a:masterClrMapping/>
  </p:clrMapOvr>
  <p:transition/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5EB5334-E90A-763C-547B-42779E424AED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pPr marL="0" indent="0"/>
            <a:r>
              <a:rPr lang="es-MX" sz="2800" b="1" cap="none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Qué hacer ante el robo de identidad?</a:t>
            </a:r>
            <a:endParaRPr lang="es-MX" cap="none" dirty="0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7E7EAD3F-FA2C-84C0-845E-F14CE60F343C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917428" y="1301610"/>
            <a:ext cx="8709684" cy="494393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32417271"/>
      </p:ext>
    </p:extLst>
  </p:cSld>
  <p:clrMapOvr>
    <a:masterClrMapping/>
  </p:clrMapOvr>
  <p:transition/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ortar y redondear rectángulo de una sencilla 1">
            <a:extLst>
              <a:ext uri="{FF2B5EF4-FFF2-40B4-BE49-F238E27FC236}">
                <a16:creationId xmlns:a16="http://schemas.microsoft.com/office/drawing/2014/main" id="{2324456D-52E3-1A48-BAA1-FE2CBBEB0C2D}"/>
              </a:ext>
            </a:extLst>
          </p:cNvPr>
          <p:cNvSpPr/>
          <p:nvPr/>
        </p:nvSpPr>
        <p:spPr>
          <a:xfrm flipH="1">
            <a:off x="3472541" y="6802671"/>
            <a:ext cx="8719457" cy="77013"/>
          </a:xfrm>
          <a:prstGeom prst="snipRoundRect">
            <a:avLst>
              <a:gd name="adj1" fmla="val 0"/>
              <a:gd name="adj2" fmla="val 50000"/>
            </a:avLst>
          </a:prstGeom>
          <a:solidFill>
            <a:srgbClr val="23448B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18" name="Marcador de contenido 5">
            <a:extLst>
              <a:ext uri="{FF2B5EF4-FFF2-40B4-BE49-F238E27FC236}">
                <a16:creationId xmlns:a16="http://schemas.microsoft.com/office/drawing/2014/main" id="{863F253A-0858-444F-8420-43EBEC0722B7}"/>
              </a:ext>
            </a:extLst>
          </p:cNvPr>
          <p:cNvSpPr txBox="1">
            <a:spLocks/>
          </p:cNvSpPr>
          <p:nvPr/>
        </p:nvSpPr>
        <p:spPr>
          <a:xfrm>
            <a:off x="73187" y="289109"/>
            <a:ext cx="12045625" cy="470777"/>
          </a:xfrm>
          <a:prstGeom prst="rect">
            <a:avLst/>
          </a:prstGeom>
        </p:spPr>
        <p:txBody>
          <a:bodyPr>
            <a:noAutofit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Font typeface="Arial" panose="020B0604020202020204" pitchFamily="34" charset="0"/>
              <a:buNone/>
            </a:pPr>
            <a:r>
              <a:rPr lang="es-MX" sz="3200" b="1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¿Qué hacer ante el robo de identidad?</a:t>
            </a:r>
            <a:endParaRPr lang="es-MX" sz="3200" b="1" u="sng" dirty="0">
              <a:solidFill>
                <a:srgbClr val="23448B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368ECDDA-8E29-46A3-9B80-FEC46B182A9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/>
        </p:blipFill>
        <p:spPr>
          <a:xfrm>
            <a:off x="2138445" y="1802659"/>
            <a:ext cx="8970541" cy="44155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66159621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6" fill="hold" grpId="0" nodeType="afterEffect">
                                  <p:stCondLst>
                                    <p:cond delay="7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w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500" fill="hold"/>
                                        <p:tgtEl>
                                          <p:spTgt spid="18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18" grpId="0" build="allAtOnce"/>
    </p:bld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BAD8FB89-CE9B-03B7-AA09-354685C0C922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/>
        </p:blipFill>
        <p:spPr>
          <a:xfrm>
            <a:off x="2002297" y="1509374"/>
            <a:ext cx="8187405" cy="4032297"/>
          </a:xfrm>
          <a:prstGeom prst="rect">
            <a:avLst/>
          </a:prstGeom>
          <a:noFill/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0C558CB5-55F9-2308-8671-F9470AD329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482599" y="457200"/>
            <a:ext cx="11216637" cy="536553"/>
          </a:xfrm>
        </p:spPr>
        <p:txBody>
          <a:bodyPr anchor="b">
            <a:normAutofit/>
          </a:bodyPr>
          <a:lstStyle/>
          <a:p>
            <a:pPr marL="0" indent="0"/>
            <a:r>
              <a:rPr lang="es-MX" b="1"/>
              <a:t>¿Qué hacer ante el robo de identidad?</a:t>
            </a:r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588685051"/>
      </p:ext>
    </p:extLst>
  </p:cSld>
  <p:clrMapOvr>
    <a:masterClrMapping/>
  </p:clrMapOvr>
  <p:transition/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D78F1BB1-2CAF-4FEE-4AFD-FF996CD1006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MX" sz="2800" b="1" cap="none" dirty="0">
                <a:solidFill>
                  <a:srgbClr val="23448B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Recomendaciones ante robo de identidad</a:t>
            </a:r>
            <a:endParaRPr lang="es-MX" cap="none" dirty="0"/>
          </a:p>
        </p:txBody>
      </p:sp>
      <p:sp>
        <p:nvSpPr>
          <p:cNvPr id="3" name="Marcador de contenido 2">
            <a:extLst>
              <a:ext uri="{FF2B5EF4-FFF2-40B4-BE49-F238E27FC236}">
                <a16:creationId xmlns:a16="http://schemas.microsoft.com/office/drawing/2014/main" id="{15307728-3B4B-C801-8513-D91DEB381AE6}"/>
              </a:ext>
            </a:extLst>
          </p:cNvPr>
          <p:cNvSpPr txBox="1">
            <a:spLocks/>
          </p:cNvSpPr>
          <p:nvPr/>
        </p:nvSpPr>
        <p:spPr>
          <a:xfrm>
            <a:off x="151387" y="1316639"/>
            <a:ext cx="8050976" cy="4845279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ct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indent="0" algn="ctr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vita que tus identificaciones (ej. INE) sean foto copiadas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Limita el número de documentos personales que traes contigo y cuídalos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vita dejar tu INE al ingresar a algún edificio u oficina, ofrece otro  tipo de identificación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Mantén seguros tus documentos personales en casa y cuando viajes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Destruye tus documentos personales cuando pierdan utilidad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Piensa antes de publicar o compartir información personal en internet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Protege tus dispositivos como computadora, smartphone y </a:t>
            </a:r>
            <a:r>
              <a:rPr lang="es-ES" sz="1400" dirty="0" err="1">
                <a:latin typeface="Arial" panose="020B0604020202020204" pitchFamily="34" charset="0"/>
                <a:cs typeface="Arial" panose="020B0604020202020204" pitchFamily="34" charset="0"/>
              </a:rPr>
              <a:t>tablet</a:t>
            </a: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Ten precaución cuando te soliciten información en persona, por internet o teléfono, evita compartir información a desconocidos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Investiga si recibes tarjetas de crédito, servicios o artículos que no hayas solicitado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r>
              <a:rPr lang="es-ES" sz="1400" dirty="0">
                <a:latin typeface="Arial" panose="020B0604020202020204" pitchFamily="34" charset="0"/>
                <a:cs typeface="Arial" panose="020B0604020202020204" pitchFamily="34" charset="0"/>
              </a:rPr>
              <a:t>Evita publicar imágenes de tus documentos personales en redes sociales.</a:t>
            </a:r>
          </a:p>
          <a:p>
            <a:pPr marL="800100" lvl="2" indent="-342900" algn="just">
              <a:lnSpc>
                <a:spcPct val="120000"/>
              </a:lnSpc>
              <a:buFont typeface="Arial" panose="020B0604020202020204" pitchFamily="34" charset="0"/>
              <a:buChar char="•"/>
            </a:pPr>
            <a:endParaRPr lang="es-MX" sz="8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4" name="Picture 2" descr="Descarga ahora este icono en formato SVG, PSD, PNG, EPS o como fuente para  web. Flaticon, la mayor base de datos de ico… | Cliparts gratuitos, Set de  iconos, Iconos">
            <a:extLst>
              <a:ext uri="{FF2B5EF4-FFF2-40B4-BE49-F238E27FC236}">
                <a16:creationId xmlns:a16="http://schemas.microsoft.com/office/drawing/2014/main" id="{3C54F9DB-A215-594B-7622-7DABAB68E9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8804177" y="2197352"/>
            <a:ext cx="2895059" cy="289505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657546094"/>
      </p:ext>
    </p:extLst>
  </p:cSld>
  <p:clrMapOvr>
    <a:masterClrMapping/>
  </p:clrMapOvr>
  <p:transition/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Sempra Template 2021_16x9">
  <a:themeElements>
    <a:clrScheme name="Sempra">
      <a:dk1>
        <a:srgbClr val="000000"/>
      </a:dk1>
      <a:lt1>
        <a:srgbClr val="FFFFFF"/>
      </a:lt1>
      <a:dk2>
        <a:srgbClr val="001C71"/>
      </a:dk2>
      <a:lt2>
        <a:srgbClr val="009BDA"/>
      </a:lt2>
      <a:accent1>
        <a:srgbClr val="001C71"/>
      </a:accent1>
      <a:accent2>
        <a:srgbClr val="009BDA"/>
      </a:accent2>
      <a:accent3>
        <a:srgbClr val="52C6D8"/>
      </a:accent3>
      <a:accent4>
        <a:srgbClr val="23AE49"/>
      </a:accent4>
      <a:accent5>
        <a:srgbClr val="FBDD3E"/>
      </a:accent5>
      <a:accent6>
        <a:srgbClr val="646E7B"/>
      </a:accent6>
      <a:hlink>
        <a:srgbClr val="001C71"/>
      </a:hlink>
      <a:folHlink>
        <a:srgbClr val="51C6D8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 bwMode="auto">
        <a:solidFill>
          <a:schemeClr val="accent1"/>
        </a:solidFill>
        <a:ln>
          <a:noFill/>
        </a:ln>
      </a:spPr>
      <a:bodyPr wrap="none" lIns="82058" tIns="41029" rIns="82058" bIns="41029" anchor="ctr"/>
      <a:lstStyle>
        <a:defPPr defTabSz="914382">
          <a:defRPr sz="1400">
            <a:solidFill>
              <a:srgbClr val="FFFFFF"/>
            </a:solidFill>
            <a:cs typeface="Arial" panose="020B0604020202020204" pitchFamily="34" charset="0"/>
          </a:defRPr>
        </a:defPPr>
      </a:lstStyle>
    </a:spDef>
    <a:lnDef>
      <a:spPr>
        <a:ln w="12700">
          <a:solidFill>
            <a:schemeClr val="tx1"/>
          </a:solidFill>
        </a:ln>
        <a:effectLst/>
      </a:spPr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  <a:custClrLst>
    <a:custClr name="Eternal Blue">
      <a:srgbClr val="001C71"/>
    </a:custClr>
    <a:custClr name="Midday Sky">
      <a:srgbClr val="009BDA"/>
    </a:custClr>
    <a:custClr name="Cove Blue">
      <a:srgbClr val="52C6D8"/>
    </a:custClr>
    <a:custClr name="Field Green">
      <a:srgbClr val="23AE49"/>
    </a:custClr>
    <a:custClr name="Sunburst Yellow">
      <a:srgbClr val="FBDD3E"/>
    </a:custClr>
    <a:custClr name="Slate">
      <a:srgbClr val="646E7B"/>
    </a:custClr>
    <a:custClr name="White">
      <a:srgbClr val="FFFFFF"/>
    </a:custClr>
    <a:custClr name="Deep Sea Blue">
      <a:srgbClr val="0074A3"/>
    </a:custClr>
    <a:custClr name="Creek Stone">
      <a:srgbClr val="D9D1B4"/>
    </a:custClr>
    <a:custClr name="White">
      <a:srgbClr val="FFFFFF"/>
    </a:custClr>
    <a:custClr name="80% Eternal Blue">
      <a:srgbClr val="33498D"/>
    </a:custClr>
    <a:custClr name="80% Midday Sky">
      <a:srgbClr val="33AFE1"/>
    </a:custClr>
    <a:custClr name="80% Cove Blue">
      <a:srgbClr val="75D1E0"/>
    </a:custClr>
    <a:custClr name="80% Field Green">
      <a:srgbClr val="4FBE6D"/>
    </a:custClr>
    <a:custClr name="80% Sunburst Yellow">
      <a:srgbClr val="FCE465"/>
    </a:custClr>
    <a:custClr name="80% Slate">
      <a:srgbClr val="838B9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60% Eternal Blue">
      <a:srgbClr val="6677AA"/>
    </a:custClr>
    <a:custClr name="60% Midday Sky">
      <a:srgbClr val="66C3E9"/>
    </a:custClr>
    <a:custClr name="60% Cove Blue">
      <a:srgbClr val="97DDE8"/>
    </a:custClr>
    <a:custClr name="60% Field Green">
      <a:srgbClr val="7BCE92"/>
    </a:custClr>
    <a:custClr name="60% Sunburst Yellow">
      <a:srgbClr val="FDEB8B"/>
    </a:custClr>
    <a:custClr name="60% Slate">
      <a:srgbClr val="A2A8B0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40% Eternal Blue">
      <a:srgbClr val="99A4C6"/>
    </a:custClr>
    <a:custClr name="40% Midday Sky">
      <a:srgbClr val="99D7F0"/>
    </a:custClr>
    <a:custClr name="40% Cove Blue">
      <a:srgbClr val="BAE8EF"/>
    </a:custClr>
    <a:custClr name="40% Field Green">
      <a:srgbClr val="A7DFB6"/>
    </a:custClr>
    <a:custClr name="40% Sunburst Yellow">
      <a:srgbClr val="FDF1B2"/>
    </a:custClr>
    <a:custClr name="40% Slate">
      <a:srgbClr val="C1C5CA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  <a:custClr name="20% Eternal Blue">
      <a:srgbClr val="CCD2E3"/>
    </a:custClr>
    <a:custClr name="20% Midday Sky">
      <a:srgbClr val="CCEBF8"/>
    </a:custClr>
    <a:custClr name="20% Cove Blue">
      <a:srgbClr val="DCF4F7"/>
    </a:custClr>
    <a:custClr name="20% Field Green">
      <a:srgbClr val="D3EFDB"/>
    </a:custClr>
    <a:custClr name="20% Sunburst Yellow">
      <a:srgbClr val="FEF8D8"/>
    </a:custClr>
    <a:custClr name="20% Slate">
      <a:srgbClr val="E0E2E5"/>
    </a:custClr>
    <a:custClr name="White">
      <a:srgbClr val="FFFFFF"/>
    </a:custClr>
    <a:custClr name="White">
      <a:srgbClr val="FFFFFF"/>
    </a:custClr>
    <a:custClr name="White">
      <a:srgbClr val="FFFFFF"/>
    </a:custClr>
    <a:custClr name="White">
      <a:srgbClr val="FFFFFF"/>
    </a:custClr>
  </a:custClrLst>
  <a:extLst>
    <a:ext uri="{05A4C25C-085E-4340-85A3-A5531E510DB2}">
      <thm15:themeFamily xmlns:thm15="http://schemas.microsoft.com/office/thememl/2012/main" name="Sempra Template 2021_16x9.potx  -  Read-Only" id="{95DC0F88-077E-4E18-831C-857305D94B88}" vid="{4BA7AFB1-3228-4B9C-862E-B3AC1687BBAD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template_16x9</Template>
  <TotalTime>272</TotalTime>
  <Words>630</Words>
  <Application>Microsoft Office PowerPoint</Application>
  <PresentationFormat>Widescreen</PresentationFormat>
  <Paragraphs>54</Paragraphs>
  <Slides>11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3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1</vt:i4>
      </vt:variant>
    </vt:vector>
  </HeadingPairs>
  <TitlesOfParts>
    <vt:vector size="16" baseType="lpstr">
      <vt:lpstr>Arial</vt:lpstr>
      <vt:lpstr>Calibri</vt:lpstr>
      <vt:lpstr>Wingdings</vt:lpstr>
      <vt:lpstr>Sempra Template 2021_16x9</vt:lpstr>
      <vt:lpstr>think-cell Slide</vt:lpstr>
      <vt:lpstr>Recomendaciones de Seguridad </vt:lpstr>
      <vt:lpstr>Robo de identidad</vt:lpstr>
      <vt:lpstr>Datos personales</vt:lpstr>
      <vt:lpstr>Robo de identidad</vt:lpstr>
      <vt:lpstr>Robo de identidad</vt:lpstr>
      <vt:lpstr>¿Qué hacer ante el robo de identidad?</vt:lpstr>
      <vt:lpstr>PowerPoint Presentation</vt:lpstr>
      <vt:lpstr>¿Qué hacer ante el robo de identidad?</vt:lpstr>
      <vt:lpstr>Recomendaciones ante robo de identidad</vt:lpstr>
      <vt:lpstr>CONTACTO</vt:lpstr>
      <vt:lpstr>Fuente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Cruz, Jose</dc:creator>
  <cp:lastModifiedBy>Maldonado, Mitzli</cp:lastModifiedBy>
  <cp:revision>24</cp:revision>
  <dcterms:created xsi:type="dcterms:W3CDTF">2021-04-26T21:32:13Z</dcterms:created>
  <dcterms:modified xsi:type="dcterms:W3CDTF">2023-09-26T01:08:31Z</dcterms:modified>
</cp:coreProperties>
</file>